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0"/>
  </p:notesMasterIdLst>
  <p:sldIdLst>
    <p:sldId id="269" r:id="rId3"/>
    <p:sldId id="271" r:id="rId4"/>
    <p:sldId id="273" r:id="rId5"/>
    <p:sldId id="258" r:id="rId6"/>
    <p:sldId id="276" r:id="rId7"/>
    <p:sldId id="277" r:id="rId8"/>
    <p:sldId id="275" r:id="rId9"/>
  </p:sldIdLst>
  <p:sldSz cx="12192000" cy="6858000"/>
  <p:notesSz cx="6858000" cy="9144000"/>
  <p:custDataLst>
    <p:tags r:id="rId11"/>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E7ED24-ED63-4216-A927-23476DBD5A76}" v="668" dt="2021-11-19T13:29:25.8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295" autoAdjust="0"/>
  </p:normalViewPr>
  <p:slideViewPr>
    <p:cSldViewPr snapToGrid="0">
      <p:cViewPr varScale="1">
        <p:scale>
          <a:sx n="58" d="100"/>
          <a:sy n="58" d="100"/>
        </p:scale>
        <p:origin x="98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18" Type="http://schemas.openxmlformats.org/officeDocument/2006/relationships/customXml" Target="../customXml/item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19"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llstedt, Helena" userId="876ca13f-c119-4747-b8a7-0f6cb723149f" providerId="ADAL" clId="{58E7ED24-ED63-4216-A927-23476DBD5A76}"/>
    <pc:docChg chg="undo custSel addSld modSld sldOrd">
      <pc:chgData name="Sellstedt, Helena" userId="876ca13f-c119-4747-b8a7-0f6cb723149f" providerId="ADAL" clId="{58E7ED24-ED63-4216-A927-23476DBD5A76}" dt="2021-11-16T17:21:21.820" v="785" actId="20577"/>
      <pc:docMkLst>
        <pc:docMk/>
      </pc:docMkLst>
      <pc:sldChg chg="modSp mod">
        <pc:chgData name="Sellstedt, Helena" userId="876ca13f-c119-4747-b8a7-0f6cb723149f" providerId="ADAL" clId="{58E7ED24-ED63-4216-A927-23476DBD5A76}" dt="2021-11-10T06:50:47.805" v="33" actId="14100"/>
        <pc:sldMkLst>
          <pc:docMk/>
          <pc:sldMk cId="3569885965" sldId="258"/>
        </pc:sldMkLst>
        <pc:spChg chg="mod">
          <ac:chgData name="Sellstedt, Helena" userId="876ca13f-c119-4747-b8a7-0f6cb723149f" providerId="ADAL" clId="{58E7ED24-ED63-4216-A927-23476DBD5A76}" dt="2021-11-10T06:50:03.865" v="23" actId="1076"/>
          <ac:spMkLst>
            <pc:docMk/>
            <pc:sldMk cId="3569885965" sldId="258"/>
            <ac:spMk id="4" creationId="{3F138AE7-2209-45BC-9F3F-08CBDA51B6E1}"/>
          </ac:spMkLst>
        </pc:spChg>
        <pc:spChg chg="mod">
          <ac:chgData name="Sellstedt, Helena" userId="876ca13f-c119-4747-b8a7-0f6cb723149f" providerId="ADAL" clId="{58E7ED24-ED63-4216-A927-23476DBD5A76}" dt="2021-11-10T06:50:03.865" v="23" actId="1076"/>
          <ac:spMkLst>
            <pc:docMk/>
            <pc:sldMk cId="3569885965" sldId="258"/>
            <ac:spMk id="5" creationId="{378A665F-6621-487F-B5B2-F00D870FE797}"/>
          </ac:spMkLst>
        </pc:spChg>
        <pc:spChg chg="mod">
          <ac:chgData name="Sellstedt, Helena" userId="876ca13f-c119-4747-b8a7-0f6cb723149f" providerId="ADAL" clId="{58E7ED24-ED63-4216-A927-23476DBD5A76}" dt="2021-11-10T06:50:03.865" v="23" actId="1076"/>
          <ac:spMkLst>
            <pc:docMk/>
            <pc:sldMk cId="3569885965" sldId="258"/>
            <ac:spMk id="6" creationId="{6DE6A622-3F48-40C6-8605-B5921E99D285}"/>
          </ac:spMkLst>
        </pc:spChg>
        <pc:spChg chg="mod">
          <ac:chgData name="Sellstedt, Helena" userId="876ca13f-c119-4747-b8a7-0f6cb723149f" providerId="ADAL" clId="{58E7ED24-ED63-4216-A927-23476DBD5A76}" dt="2021-11-10T06:50:03.865" v="23" actId="1076"/>
          <ac:spMkLst>
            <pc:docMk/>
            <pc:sldMk cId="3569885965" sldId="258"/>
            <ac:spMk id="7" creationId="{C02D0748-7C86-4166-ABEF-0E25708F48A0}"/>
          </ac:spMkLst>
        </pc:spChg>
        <pc:spChg chg="mod">
          <ac:chgData name="Sellstedt, Helena" userId="876ca13f-c119-4747-b8a7-0f6cb723149f" providerId="ADAL" clId="{58E7ED24-ED63-4216-A927-23476DBD5A76}" dt="2021-11-10T06:50:03.865" v="23" actId="1076"/>
          <ac:spMkLst>
            <pc:docMk/>
            <pc:sldMk cId="3569885965" sldId="258"/>
            <ac:spMk id="8" creationId="{498C277F-8A5E-43FD-A141-7C18D5465B0E}"/>
          </ac:spMkLst>
        </pc:spChg>
        <pc:spChg chg="mod">
          <ac:chgData name="Sellstedt, Helena" userId="876ca13f-c119-4747-b8a7-0f6cb723149f" providerId="ADAL" clId="{58E7ED24-ED63-4216-A927-23476DBD5A76}" dt="2021-11-10T06:50:03.865" v="23" actId="1076"/>
          <ac:spMkLst>
            <pc:docMk/>
            <pc:sldMk cId="3569885965" sldId="258"/>
            <ac:spMk id="9" creationId="{02816CCF-BE6D-40D9-B16A-D713756B504F}"/>
          </ac:spMkLst>
        </pc:spChg>
        <pc:spChg chg="mod">
          <ac:chgData name="Sellstedt, Helena" userId="876ca13f-c119-4747-b8a7-0f6cb723149f" providerId="ADAL" clId="{58E7ED24-ED63-4216-A927-23476DBD5A76}" dt="2021-11-10T06:48:04.614" v="0" actId="207"/>
          <ac:spMkLst>
            <pc:docMk/>
            <pc:sldMk cId="3569885965" sldId="258"/>
            <ac:spMk id="12" creationId="{F1B80922-13D0-46DA-9F5B-41C44488C09D}"/>
          </ac:spMkLst>
        </pc:spChg>
        <pc:spChg chg="mod">
          <ac:chgData name="Sellstedt, Helena" userId="876ca13f-c119-4747-b8a7-0f6cb723149f" providerId="ADAL" clId="{58E7ED24-ED63-4216-A927-23476DBD5A76}" dt="2021-11-10T06:48:22.637" v="5" actId="20577"/>
          <ac:spMkLst>
            <pc:docMk/>
            <pc:sldMk cId="3569885965" sldId="258"/>
            <ac:spMk id="13" creationId="{A7F2956C-3494-4E2E-BB53-A7A527B26A46}"/>
          </ac:spMkLst>
        </pc:spChg>
        <pc:spChg chg="mod">
          <ac:chgData name="Sellstedt, Helena" userId="876ca13f-c119-4747-b8a7-0f6cb723149f" providerId="ADAL" clId="{58E7ED24-ED63-4216-A927-23476DBD5A76}" dt="2021-11-10T06:48:11.255" v="1" actId="207"/>
          <ac:spMkLst>
            <pc:docMk/>
            <pc:sldMk cId="3569885965" sldId="258"/>
            <ac:spMk id="14" creationId="{ECA357C9-0127-4E70-B47A-CB70AB2DDA3B}"/>
          </ac:spMkLst>
        </pc:spChg>
        <pc:spChg chg="mod">
          <ac:chgData name="Sellstedt, Helena" userId="876ca13f-c119-4747-b8a7-0f6cb723149f" providerId="ADAL" clId="{58E7ED24-ED63-4216-A927-23476DBD5A76}" dt="2021-11-10T06:48:26.761" v="10" actId="20577"/>
          <ac:spMkLst>
            <pc:docMk/>
            <pc:sldMk cId="3569885965" sldId="258"/>
            <ac:spMk id="15" creationId="{63899738-76D2-466B-A1B6-C57117DC3A4B}"/>
          </ac:spMkLst>
        </pc:spChg>
        <pc:spChg chg="mod">
          <ac:chgData name="Sellstedt, Helena" userId="876ca13f-c119-4747-b8a7-0f6cb723149f" providerId="ADAL" clId="{58E7ED24-ED63-4216-A927-23476DBD5A76}" dt="2021-11-10T06:50:10.245" v="26" actId="1076"/>
          <ac:spMkLst>
            <pc:docMk/>
            <pc:sldMk cId="3569885965" sldId="258"/>
            <ac:spMk id="16" creationId="{45EA3A8F-C675-4C68-A420-44CBE4218388}"/>
          </ac:spMkLst>
        </pc:spChg>
        <pc:spChg chg="mod">
          <ac:chgData name="Sellstedt, Helena" userId="876ca13f-c119-4747-b8a7-0f6cb723149f" providerId="ADAL" clId="{58E7ED24-ED63-4216-A927-23476DBD5A76}" dt="2021-11-10T06:50:03.865" v="23" actId="1076"/>
          <ac:spMkLst>
            <pc:docMk/>
            <pc:sldMk cId="3569885965" sldId="258"/>
            <ac:spMk id="17" creationId="{53E542C5-6E91-4F5E-84EA-527D64E37C46}"/>
          </ac:spMkLst>
        </pc:spChg>
        <pc:spChg chg="mod">
          <ac:chgData name="Sellstedt, Helena" userId="876ca13f-c119-4747-b8a7-0f6cb723149f" providerId="ADAL" clId="{58E7ED24-ED63-4216-A927-23476DBD5A76}" dt="2021-11-10T06:50:03.865" v="23" actId="1076"/>
          <ac:spMkLst>
            <pc:docMk/>
            <pc:sldMk cId="3569885965" sldId="258"/>
            <ac:spMk id="84" creationId="{6C8D8D25-77AC-4CEA-BF83-561EB6D33B9C}"/>
          </ac:spMkLst>
        </pc:spChg>
        <pc:spChg chg="mod">
          <ac:chgData name="Sellstedt, Helena" userId="876ca13f-c119-4747-b8a7-0f6cb723149f" providerId="ADAL" clId="{58E7ED24-ED63-4216-A927-23476DBD5A76}" dt="2021-11-10T06:50:03.865" v="23" actId="1076"/>
          <ac:spMkLst>
            <pc:docMk/>
            <pc:sldMk cId="3569885965" sldId="258"/>
            <ac:spMk id="85" creationId="{3E1C4F6F-A2C0-430E-8181-3D40A799A4CC}"/>
          </ac:spMkLst>
        </pc:spChg>
        <pc:spChg chg="mod">
          <ac:chgData name="Sellstedt, Helena" userId="876ca13f-c119-4747-b8a7-0f6cb723149f" providerId="ADAL" clId="{58E7ED24-ED63-4216-A927-23476DBD5A76}" dt="2021-11-10T06:50:03.865" v="23" actId="1076"/>
          <ac:spMkLst>
            <pc:docMk/>
            <pc:sldMk cId="3569885965" sldId="258"/>
            <ac:spMk id="88" creationId="{87A2E9F9-01E5-4356-95F2-1E763DF305C4}"/>
          </ac:spMkLst>
        </pc:spChg>
        <pc:spChg chg="mod">
          <ac:chgData name="Sellstedt, Helena" userId="876ca13f-c119-4747-b8a7-0f6cb723149f" providerId="ADAL" clId="{58E7ED24-ED63-4216-A927-23476DBD5A76}" dt="2021-11-10T06:50:47.805" v="33" actId="14100"/>
          <ac:spMkLst>
            <pc:docMk/>
            <pc:sldMk cId="3569885965" sldId="258"/>
            <ac:spMk id="90" creationId="{6CC4AC94-DF1D-4A2D-9643-E16674F62E5E}"/>
          </ac:spMkLst>
        </pc:spChg>
        <pc:spChg chg="mod">
          <ac:chgData name="Sellstedt, Helena" userId="876ca13f-c119-4747-b8a7-0f6cb723149f" providerId="ADAL" clId="{58E7ED24-ED63-4216-A927-23476DBD5A76}" dt="2021-11-10T06:50:43.811" v="32" actId="207"/>
          <ac:spMkLst>
            <pc:docMk/>
            <pc:sldMk cId="3569885965" sldId="258"/>
            <ac:spMk id="91" creationId="{EFD2526B-4BA3-42B2-9A32-4DC59D4D4F1B}"/>
          </ac:spMkLst>
        </pc:spChg>
        <pc:cxnChg chg="mod">
          <ac:chgData name="Sellstedt, Helena" userId="876ca13f-c119-4747-b8a7-0f6cb723149f" providerId="ADAL" clId="{58E7ED24-ED63-4216-A927-23476DBD5A76}" dt="2021-11-10T06:50:03.865" v="23" actId="1076"/>
          <ac:cxnSpMkLst>
            <pc:docMk/>
            <pc:sldMk cId="3569885965" sldId="258"/>
            <ac:cxnSpMk id="75" creationId="{ACA71768-0109-4D92-BCB1-89F512ADCBBC}"/>
          </ac:cxnSpMkLst>
        </pc:cxnChg>
        <pc:cxnChg chg="mod">
          <ac:chgData name="Sellstedt, Helena" userId="876ca13f-c119-4747-b8a7-0f6cb723149f" providerId="ADAL" clId="{58E7ED24-ED63-4216-A927-23476DBD5A76}" dt="2021-11-10T06:50:03.865" v="23" actId="1076"/>
          <ac:cxnSpMkLst>
            <pc:docMk/>
            <pc:sldMk cId="3569885965" sldId="258"/>
            <ac:cxnSpMk id="76" creationId="{F8DF2BF6-F346-445E-ABA3-444398EE35A8}"/>
          </ac:cxnSpMkLst>
        </pc:cxnChg>
      </pc:sldChg>
      <pc:sldChg chg="addSp delSp modSp mod">
        <pc:chgData name="Sellstedt, Helena" userId="876ca13f-c119-4747-b8a7-0f6cb723149f" providerId="ADAL" clId="{58E7ED24-ED63-4216-A927-23476DBD5A76}" dt="2021-11-16T13:12:44.074" v="383"/>
        <pc:sldMkLst>
          <pc:docMk/>
          <pc:sldMk cId="4095143692" sldId="269"/>
        </pc:sldMkLst>
        <pc:spChg chg="add del mod modVis">
          <ac:chgData name="Sellstedt, Helena" userId="876ca13f-c119-4747-b8a7-0f6cb723149f" providerId="ADAL" clId="{58E7ED24-ED63-4216-A927-23476DBD5A76}" dt="2021-11-16T13:12:44.068" v="381"/>
          <ac:spMkLst>
            <pc:docMk/>
            <pc:sldMk cId="4095143692" sldId="269"/>
            <ac:spMk id="2" creationId="{A13D30CF-5CEE-47FE-A453-9DD8932CD370}"/>
          </ac:spMkLst>
        </pc:spChg>
        <pc:spChg chg="mod">
          <ac:chgData name="Sellstedt, Helena" userId="876ca13f-c119-4747-b8a7-0f6cb723149f" providerId="ADAL" clId="{58E7ED24-ED63-4216-A927-23476DBD5A76}" dt="2021-11-16T13:12:43.990" v="314" actId="948"/>
          <ac:spMkLst>
            <pc:docMk/>
            <pc:sldMk cId="4095143692" sldId="269"/>
            <ac:spMk id="13" creationId="{137D7A24-3E1B-475B-B9D5-BAF5AACBAFD1}"/>
          </ac:spMkLst>
        </pc:spChg>
        <pc:graphicFrameChg chg="mod">
          <ac:chgData name="Sellstedt, Helena" userId="876ca13f-c119-4747-b8a7-0f6cb723149f" providerId="ADAL" clId="{58E7ED24-ED63-4216-A927-23476DBD5A76}" dt="2021-11-16T13:12:44.074" v="383"/>
          <ac:graphicFrameMkLst>
            <pc:docMk/>
            <pc:sldMk cId="4095143692" sldId="269"/>
            <ac:graphicFrameMk id="11" creationId="{66D3DD93-97C2-473D-86EB-FE17F27F4550}"/>
          </ac:graphicFrameMkLst>
        </pc:graphicFrameChg>
      </pc:sldChg>
      <pc:sldChg chg="modSp mod">
        <pc:chgData name="Sellstedt, Helena" userId="876ca13f-c119-4747-b8a7-0f6cb723149f" providerId="ADAL" clId="{58E7ED24-ED63-4216-A927-23476DBD5A76}" dt="2021-11-16T13:15:21.742" v="468" actId="1076"/>
        <pc:sldMkLst>
          <pc:docMk/>
          <pc:sldMk cId="1525480958" sldId="271"/>
        </pc:sldMkLst>
        <pc:spChg chg="mod">
          <ac:chgData name="Sellstedt, Helena" userId="876ca13f-c119-4747-b8a7-0f6cb723149f" providerId="ADAL" clId="{58E7ED24-ED63-4216-A927-23476DBD5A76}" dt="2021-11-16T13:15:21.742" v="468" actId="1076"/>
          <ac:spMkLst>
            <pc:docMk/>
            <pc:sldMk cId="1525480958" sldId="271"/>
            <ac:spMk id="8" creationId="{7A46304A-DFEB-4B8E-A906-5DF6339DEE74}"/>
          </ac:spMkLst>
        </pc:spChg>
      </pc:sldChg>
      <pc:sldChg chg="modSp mod">
        <pc:chgData name="Sellstedt, Helena" userId="876ca13f-c119-4747-b8a7-0f6cb723149f" providerId="ADAL" clId="{58E7ED24-ED63-4216-A927-23476DBD5A76}" dt="2021-11-16T13:13:44.071" v="437" actId="20577"/>
        <pc:sldMkLst>
          <pc:docMk/>
          <pc:sldMk cId="3066742500" sldId="273"/>
        </pc:sldMkLst>
        <pc:spChg chg="mod">
          <ac:chgData name="Sellstedt, Helena" userId="876ca13f-c119-4747-b8a7-0f6cb723149f" providerId="ADAL" clId="{58E7ED24-ED63-4216-A927-23476DBD5A76}" dt="2021-11-16T13:13:44.071" v="437" actId="20577"/>
          <ac:spMkLst>
            <pc:docMk/>
            <pc:sldMk cId="3066742500" sldId="273"/>
            <ac:spMk id="2" creationId="{066648C1-869C-4C1A-B802-5AD2F07D3F1B}"/>
          </ac:spMkLst>
        </pc:spChg>
        <pc:spChg chg="mod">
          <ac:chgData name="Sellstedt, Helena" userId="876ca13f-c119-4747-b8a7-0f6cb723149f" providerId="ADAL" clId="{58E7ED24-ED63-4216-A927-23476DBD5A76}" dt="2021-11-16T13:13:34.956" v="435" actId="20577"/>
          <ac:spMkLst>
            <pc:docMk/>
            <pc:sldMk cId="3066742500" sldId="273"/>
            <ac:spMk id="8" creationId="{5BE54855-C9F2-48E1-85A6-AE4111900CAB}"/>
          </ac:spMkLst>
        </pc:spChg>
      </pc:sldChg>
      <pc:sldChg chg="ord">
        <pc:chgData name="Sellstedt, Helena" userId="876ca13f-c119-4747-b8a7-0f6cb723149f" providerId="ADAL" clId="{58E7ED24-ED63-4216-A927-23476DBD5A76}" dt="2021-11-16T13:13:52.029" v="439"/>
        <pc:sldMkLst>
          <pc:docMk/>
          <pc:sldMk cId="3065130795" sldId="275"/>
        </pc:sldMkLst>
      </pc:sldChg>
      <pc:sldChg chg="addSp delSp modSp mod">
        <pc:chgData name="Sellstedt, Helena" userId="876ca13f-c119-4747-b8a7-0f6cb723149f" providerId="ADAL" clId="{58E7ED24-ED63-4216-A927-23476DBD5A76}" dt="2021-11-16T14:43:54.272" v="559" actId="20577"/>
        <pc:sldMkLst>
          <pc:docMk/>
          <pc:sldMk cId="2244545325" sldId="276"/>
        </pc:sldMkLst>
        <pc:spChg chg="add mod">
          <ac:chgData name="Sellstedt, Helena" userId="876ca13f-c119-4747-b8a7-0f6cb723149f" providerId="ADAL" clId="{58E7ED24-ED63-4216-A927-23476DBD5A76}" dt="2021-11-16T13:15:09.769" v="467" actId="1076"/>
          <ac:spMkLst>
            <pc:docMk/>
            <pc:sldMk cId="2244545325" sldId="276"/>
            <ac:spMk id="2" creationId="{2FBD788C-C17B-4F4B-BA25-217F8C2CBAEB}"/>
          </ac:spMkLst>
        </pc:spChg>
        <pc:spChg chg="del">
          <ac:chgData name="Sellstedt, Helena" userId="876ca13f-c119-4747-b8a7-0f6cb723149f" providerId="ADAL" clId="{58E7ED24-ED63-4216-A927-23476DBD5A76}" dt="2021-11-10T06:51:04.661" v="34" actId="478"/>
          <ac:spMkLst>
            <pc:docMk/>
            <pc:sldMk cId="2244545325" sldId="276"/>
            <ac:spMk id="3" creationId="{DFC27E29-59E7-4E46-9C2A-AC1382EE444C}"/>
          </ac:spMkLst>
        </pc:spChg>
        <pc:spChg chg="add mod">
          <ac:chgData name="Sellstedt, Helena" userId="876ca13f-c119-4747-b8a7-0f6cb723149f" providerId="ADAL" clId="{58E7ED24-ED63-4216-A927-23476DBD5A76}" dt="2021-11-16T14:43:54.272" v="559" actId="20577"/>
          <ac:spMkLst>
            <pc:docMk/>
            <pc:sldMk cId="2244545325" sldId="276"/>
            <ac:spMk id="4" creationId="{4D4B5628-F7C5-4A0F-9341-470DDD3851B0}"/>
          </ac:spMkLst>
        </pc:spChg>
        <pc:spChg chg="add mod">
          <ac:chgData name="Sellstedt, Helena" userId="876ca13f-c119-4747-b8a7-0f6cb723149f" providerId="ADAL" clId="{58E7ED24-ED63-4216-A927-23476DBD5A76}" dt="2021-11-10T06:56:42.550" v="203" actId="1076"/>
          <ac:spMkLst>
            <pc:docMk/>
            <pc:sldMk cId="2244545325" sldId="276"/>
            <ac:spMk id="5" creationId="{DDCA9F8C-49AA-45B0-9724-20EAA09F481B}"/>
          </ac:spMkLst>
        </pc:spChg>
        <pc:spChg chg="add mod">
          <ac:chgData name="Sellstedt, Helena" userId="876ca13f-c119-4747-b8a7-0f6cb723149f" providerId="ADAL" clId="{58E7ED24-ED63-4216-A927-23476DBD5A76}" dt="2021-11-10T06:52:49.936" v="114" actId="1076"/>
          <ac:spMkLst>
            <pc:docMk/>
            <pc:sldMk cId="2244545325" sldId="276"/>
            <ac:spMk id="6" creationId="{D9228297-3E2B-4A86-8E3A-110DE565ED6D}"/>
          </ac:spMkLst>
        </pc:spChg>
        <pc:spChg chg="add mod">
          <ac:chgData name="Sellstedt, Helena" userId="876ca13f-c119-4747-b8a7-0f6cb723149f" providerId="ADAL" clId="{58E7ED24-ED63-4216-A927-23476DBD5A76}" dt="2021-11-10T06:52:52.532" v="115" actId="1076"/>
          <ac:spMkLst>
            <pc:docMk/>
            <pc:sldMk cId="2244545325" sldId="276"/>
            <ac:spMk id="7" creationId="{E6E5D3D6-127F-4492-B72F-828BD2BA1284}"/>
          </ac:spMkLst>
        </pc:spChg>
        <pc:spChg chg="add mod">
          <ac:chgData name="Sellstedt, Helena" userId="876ca13f-c119-4747-b8a7-0f6cb723149f" providerId="ADAL" clId="{58E7ED24-ED63-4216-A927-23476DBD5A76}" dt="2021-11-10T06:56:27.235" v="198" actId="1076"/>
          <ac:spMkLst>
            <pc:docMk/>
            <pc:sldMk cId="2244545325" sldId="276"/>
            <ac:spMk id="8" creationId="{393FC1F7-038B-400D-9F7E-180A0E11A2B5}"/>
          </ac:spMkLst>
        </pc:spChg>
        <pc:spChg chg="add mod">
          <ac:chgData name="Sellstedt, Helena" userId="876ca13f-c119-4747-b8a7-0f6cb723149f" providerId="ADAL" clId="{58E7ED24-ED63-4216-A927-23476DBD5A76}" dt="2021-11-10T06:56:29.055" v="199" actId="1076"/>
          <ac:spMkLst>
            <pc:docMk/>
            <pc:sldMk cId="2244545325" sldId="276"/>
            <ac:spMk id="9" creationId="{A341D1D4-7D9A-4898-A7C4-464BBEAA297D}"/>
          </ac:spMkLst>
        </pc:spChg>
        <pc:spChg chg="add mod">
          <ac:chgData name="Sellstedt, Helena" userId="876ca13f-c119-4747-b8a7-0f6cb723149f" providerId="ADAL" clId="{58E7ED24-ED63-4216-A927-23476DBD5A76}" dt="2021-11-10T06:56:20.872" v="196" actId="1076"/>
          <ac:spMkLst>
            <pc:docMk/>
            <pc:sldMk cId="2244545325" sldId="276"/>
            <ac:spMk id="10" creationId="{ED17E1B5-F2CD-448B-989F-DBCD7EFF177B}"/>
          </ac:spMkLst>
        </pc:spChg>
        <pc:spChg chg="add mod">
          <ac:chgData name="Sellstedt, Helena" userId="876ca13f-c119-4747-b8a7-0f6cb723149f" providerId="ADAL" clId="{58E7ED24-ED63-4216-A927-23476DBD5A76}" dt="2021-11-10T06:56:12.723" v="194" actId="1076"/>
          <ac:spMkLst>
            <pc:docMk/>
            <pc:sldMk cId="2244545325" sldId="276"/>
            <ac:spMk id="11" creationId="{D2947F93-C12D-48AE-AA40-CAC18A5D751A}"/>
          </ac:spMkLst>
        </pc:spChg>
        <pc:spChg chg="add mod">
          <ac:chgData name="Sellstedt, Helena" userId="876ca13f-c119-4747-b8a7-0f6cb723149f" providerId="ADAL" clId="{58E7ED24-ED63-4216-A927-23476DBD5A76}" dt="2021-11-10T06:56:09.827" v="193" actId="1076"/>
          <ac:spMkLst>
            <pc:docMk/>
            <pc:sldMk cId="2244545325" sldId="276"/>
            <ac:spMk id="12" creationId="{57632FE0-2722-41BA-8F82-8354D46F555B}"/>
          </ac:spMkLst>
        </pc:spChg>
        <pc:spChg chg="add mod">
          <ac:chgData name="Sellstedt, Helena" userId="876ca13f-c119-4747-b8a7-0f6cb723149f" providerId="ADAL" clId="{58E7ED24-ED63-4216-A927-23476DBD5A76}" dt="2021-11-10T06:56:25.012" v="197" actId="1076"/>
          <ac:spMkLst>
            <pc:docMk/>
            <pc:sldMk cId="2244545325" sldId="276"/>
            <ac:spMk id="13" creationId="{5D9F6C87-A3B6-402C-B60C-40A49970E5DA}"/>
          </ac:spMkLst>
        </pc:spChg>
        <pc:spChg chg="add mod">
          <ac:chgData name="Sellstedt, Helena" userId="876ca13f-c119-4747-b8a7-0f6cb723149f" providerId="ADAL" clId="{58E7ED24-ED63-4216-A927-23476DBD5A76}" dt="2021-11-10T06:56:17.822" v="195" actId="1076"/>
          <ac:spMkLst>
            <pc:docMk/>
            <pc:sldMk cId="2244545325" sldId="276"/>
            <ac:spMk id="14" creationId="{FCD54823-579B-460B-918A-B06F465B8A76}"/>
          </ac:spMkLst>
        </pc:spChg>
        <pc:spChg chg="add mod">
          <ac:chgData name="Sellstedt, Helena" userId="876ca13f-c119-4747-b8a7-0f6cb723149f" providerId="ADAL" clId="{58E7ED24-ED63-4216-A927-23476DBD5A76}" dt="2021-11-16T13:14:27.041" v="464" actId="20577"/>
          <ac:spMkLst>
            <pc:docMk/>
            <pc:sldMk cId="2244545325" sldId="276"/>
            <ac:spMk id="15" creationId="{9F9AD432-28A6-4369-BD34-35CFBB5FA425}"/>
          </ac:spMkLst>
        </pc:spChg>
        <pc:spChg chg="add mod">
          <ac:chgData name="Sellstedt, Helena" userId="876ca13f-c119-4747-b8a7-0f6cb723149f" providerId="ADAL" clId="{58E7ED24-ED63-4216-A927-23476DBD5A76}" dt="2021-11-16T13:14:37.017" v="466"/>
          <ac:spMkLst>
            <pc:docMk/>
            <pc:sldMk cId="2244545325" sldId="276"/>
            <ac:spMk id="16" creationId="{C5AE213C-1E5A-4FDA-9136-4D8176C849EA}"/>
          </ac:spMkLst>
        </pc:spChg>
        <pc:picChg chg="add mod">
          <ac:chgData name="Sellstedt, Helena" userId="876ca13f-c119-4747-b8a7-0f6cb723149f" providerId="ADAL" clId="{58E7ED24-ED63-4216-A927-23476DBD5A76}" dt="2021-11-16T13:14:11.962" v="445" actId="1076"/>
          <ac:picMkLst>
            <pc:docMk/>
            <pc:sldMk cId="2244545325" sldId="276"/>
            <ac:picMk id="17" creationId="{C32702C4-C8D1-4427-9548-EEEE85AB9C6C}"/>
          </ac:picMkLst>
        </pc:picChg>
      </pc:sldChg>
      <pc:sldChg chg="addSp delSp modSp add mod">
        <pc:chgData name="Sellstedt, Helena" userId="876ca13f-c119-4747-b8a7-0f6cb723149f" providerId="ADAL" clId="{58E7ED24-ED63-4216-A927-23476DBD5A76}" dt="2021-11-16T17:21:21.820" v="785" actId="20577"/>
        <pc:sldMkLst>
          <pc:docMk/>
          <pc:sldMk cId="1932157343" sldId="277"/>
        </pc:sldMkLst>
        <pc:spChg chg="del mod">
          <ac:chgData name="Sellstedt, Helena" userId="876ca13f-c119-4747-b8a7-0f6cb723149f" providerId="ADAL" clId="{58E7ED24-ED63-4216-A927-23476DBD5A76}" dt="2021-11-16T14:43:00.767" v="503" actId="478"/>
          <ac:spMkLst>
            <pc:docMk/>
            <pc:sldMk cId="1932157343" sldId="277"/>
            <ac:spMk id="4" creationId="{4D4B5628-F7C5-4A0F-9341-470DDD3851B0}"/>
          </ac:spMkLst>
        </pc:spChg>
        <pc:spChg chg="del mod">
          <ac:chgData name="Sellstedt, Helena" userId="876ca13f-c119-4747-b8a7-0f6cb723149f" providerId="ADAL" clId="{58E7ED24-ED63-4216-A927-23476DBD5A76}" dt="2021-11-16T14:43:03.034" v="504" actId="478"/>
          <ac:spMkLst>
            <pc:docMk/>
            <pc:sldMk cId="1932157343" sldId="277"/>
            <ac:spMk id="5" creationId="{DDCA9F8C-49AA-45B0-9724-20EAA09F481B}"/>
          </ac:spMkLst>
        </pc:spChg>
        <pc:spChg chg="mod">
          <ac:chgData name="Sellstedt, Helena" userId="876ca13f-c119-4747-b8a7-0f6cb723149f" providerId="ADAL" clId="{58E7ED24-ED63-4216-A927-23476DBD5A76}" dt="2021-11-16T14:48:19.569" v="753" actId="1036"/>
          <ac:spMkLst>
            <pc:docMk/>
            <pc:sldMk cId="1932157343" sldId="277"/>
            <ac:spMk id="6" creationId="{D9228297-3E2B-4A86-8E3A-110DE565ED6D}"/>
          </ac:spMkLst>
        </pc:spChg>
        <pc:spChg chg="del mod">
          <ac:chgData name="Sellstedt, Helena" userId="876ca13f-c119-4747-b8a7-0f6cb723149f" providerId="ADAL" clId="{58E7ED24-ED63-4216-A927-23476DBD5A76}" dt="2021-11-16T14:44:04.474" v="562" actId="478"/>
          <ac:spMkLst>
            <pc:docMk/>
            <pc:sldMk cId="1932157343" sldId="277"/>
            <ac:spMk id="7" creationId="{E6E5D3D6-127F-4492-B72F-828BD2BA1284}"/>
          </ac:spMkLst>
        </pc:spChg>
        <pc:spChg chg="del">
          <ac:chgData name="Sellstedt, Helena" userId="876ca13f-c119-4747-b8a7-0f6cb723149f" providerId="ADAL" clId="{58E7ED24-ED63-4216-A927-23476DBD5A76}" dt="2021-11-16T14:45:06.064" v="614" actId="478"/>
          <ac:spMkLst>
            <pc:docMk/>
            <pc:sldMk cId="1932157343" sldId="277"/>
            <ac:spMk id="8" creationId="{393FC1F7-038B-400D-9F7E-180A0E11A2B5}"/>
          </ac:spMkLst>
        </pc:spChg>
        <pc:spChg chg="del">
          <ac:chgData name="Sellstedt, Helena" userId="876ca13f-c119-4747-b8a7-0f6cb723149f" providerId="ADAL" clId="{58E7ED24-ED63-4216-A927-23476DBD5A76}" dt="2021-11-16T14:45:04.218" v="613" actId="478"/>
          <ac:spMkLst>
            <pc:docMk/>
            <pc:sldMk cId="1932157343" sldId="277"/>
            <ac:spMk id="9" creationId="{A341D1D4-7D9A-4898-A7C4-464BBEAA297D}"/>
          </ac:spMkLst>
        </pc:spChg>
        <pc:spChg chg="del">
          <ac:chgData name="Sellstedt, Helena" userId="876ca13f-c119-4747-b8a7-0f6cb723149f" providerId="ADAL" clId="{58E7ED24-ED63-4216-A927-23476DBD5A76}" dt="2021-11-16T14:45:46.343" v="639" actId="478"/>
          <ac:spMkLst>
            <pc:docMk/>
            <pc:sldMk cId="1932157343" sldId="277"/>
            <ac:spMk id="10" creationId="{ED17E1B5-F2CD-448B-989F-DBCD7EFF177B}"/>
          </ac:spMkLst>
        </pc:spChg>
        <pc:spChg chg="del">
          <ac:chgData name="Sellstedt, Helena" userId="876ca13f-c119-4747-b8a7-0f6cb723149f" providerId="ADAL" clId="{58E7ED24-ED63-4216-A927-23476DBD5A76}" dt="2021-11-16T14:46:12.790" v="647" actId="478"/>
          <ac:spMkLst>
            <pc:docMk/>
            <pc:sldMk cId="1932157343" sldId="277"/>
            <ac:spMk id="11" creationId="{D2947F93-C12D-48AE-AA40-CAC18A5D751A}"/>
          </ac:spMkLst>
        </pc:spChg>
        <pc:spChg chg="del">
          <ac:chgData name="Sellstedt, Helena" userId="876ca13f-c119-4747-b8a7-0f6cb723149f" providerId="ADAL" clId="{58E7ED24-ED63-4216-A927-23476DBD5A76}" dt="2021-11-16T14:46:11.176" v="646" actId="478"/>
          <ac:spMkLst>
            <pc:docMk/>
            <pc:sldMk cId="1932157343" sldId="277"/>
            <ac:spMk id="12" creationId="{57632FE0-2722-41BA-8F82-8354D46F555B}"/>
          </ac:spMkLst>
        </pc:spChg>
        <pc:spChg chg="mod">
          <ac:chgData name="Sellstedt, Helena" userId="876ca13f-c119-4747-b8a7-0f6cb723149f" providerId="ADAL" clId="{58E7ED24-ED63-4216-A927-23476DBD5A76}" dt="2021-11-16T14:45:44.321" v="638" actId="1076"/>
          <ac:spMkLst>
            <pc:docMk/>
            <pc:sldMk cId="1932157343" sldId="277"/>
            <ac:spMk id="13" creationId="{5D9F6C87-A3B6-402C-B60C-40A49970E5DA}"/>
          </ac:spMkLst>
        </pc:spChg>
        <pc:spChg chg="mod">
          <ac:chgData name="Sellstedt, Helena" userId="876ca13f-c119-4747-b8a7-0f6cb723149f" providerId="ADAL" clId="{58E7ED24-ED63-4216-A927-23476DBD5A76}" dt="2021-11-16T14:46:50.036" v="671" actId="1076"/>
          <ac:spMkLst>
            <pc:docMk/>
            <pc:sldMk cId="1932157343" sldId="277"/>
            <ac:spMk id="14" creationId="{FCD54823-579B-460B-918A-B06F465B8A76}"/>
          </ac:spMkLst>
        </pc:spChg>
        <pc:spChg chg="mod">
          <ac:chgData name="Sellstedt, Helena" userId="876ca13f-c119-4747-b8a7-0f6cb723149f" providerId="ADAL" clId="{58E7ED24-ED63-4216-A927-23476DBD5A76}" dt="2021-11-16T14:45:31.755" v="635" actId="20577"/>
          <ac:spMkLst>
            <pc:docMk/>
            <pc:sldMk cId="1932157343" sldId="277"/>
            <ac:spMk id="15" creationId="{9F9AD432-28A6-4369-BD34-35CFBB5FA425}"/>
          </ac:spMkLst>
        </pc:spChg>
        <pc:spChg chg="mod">
          <ac:chgData name="Sellstedt, Helena" userId="876ca13f-c119-4747-b8a7-0f6cb723149f" providerId="ADAL" clId="{58E7ED24-ED63-4216-A927-23476DBD5A76}" dt="2021-11-16T14:45:28.449" v="634" actId="20577"/>
          <ac:spMkLst>
            <pc:docMk/>
            <pc:sldMk cId="1932157343" sldId="277"/>
            <ac:spMk id="16" creationId="{C5AE213C-1E5A-4FDA-9136-4D8176C849EA}"/>
          </ac:spMkLst>
        </pc:spChg>
        <pc:spChg chg="add del mod">
          <ac:chgData name="Sellstedt, Helena" userId="876ca13f-c119-4747-b8a7-0f6cb723149f" providerId="ADAL" clId="{58E7ED24-ED63-4216-A927-23476DBD5A76}" dt="2021-11-16T14:44:02.328" v="560" actId="478"/>
          <ac:spMkLst>
            <pc:docMk/>
            <pc:sldMk cId="1932157343" sldId="277"/>
            <ac:spMk id="18" creationId="{D082DAF9-1B1C-4E0F-96E0-485CFD29E333}"/>
          </ac:spMkLst>
        </pc:spChg>
        <pc:spChg chg="add del mod">
          <ac:chgData name="Sellstedt, Helena" userId="876ca13f-c119-4747-b8a7-0f6cb723149f" providerId="ADAL" clId="{58E7ED24-ED63-4216-A927-23476DBD5A76}" dt="2021-11-16T14:44:03.577" v="561" actId="478"/>
          <ac:spMkLst>
            <pc:docMk/>
            <pc:sldMk cId="1932157343" sldId="277"/>
            <ac:spMk id="19" creationId="{C654D4FB-ECB4-4DEF-9C65-F21273CD0DF9}"/>
          </ac:spMkLst>
        </pc:spChg>
        <pc:spChg chg="add mod">
          <ac:chgData name="Sellstedt, Helena" userId="876ca13f-c119-4747-b8a7-0f6cb723149f" providerId="ADAL" clId="{58E7ED24-ED63-4216-A927-23476DBD5A76}" dt="2021-11-16T14:48:16.138" v="742" actId="1036"/>
          <ac:spMkLst>
            <pc:docMk/>
            <pc:sldMk cId="1932157343" sldId="277"/>
            <ac:spMk id="20" creationId="{9953EE6A-5BD8-42BB-A23F-27F4BA78D4A5}"/>
          </ac:spMkLst>
        </pc:spChg>
        <pc:spChg chg="add mod">
          <ac:chgData name="Sellstedt, Helena" userId="876ca13f-c119-4747-b8a7-0f6cb723149f" providerId="ADAL" clId="{58E7ED24-ED63-4216-A927-23476DBD5A76}" dt="2021-11-16T14:46:38.813" v="668" actId="20577"/>
          <ac:spMkLst>
            <pc:docMk/>
            <pc:sldMk cId="1932157343" sldId="277"/>
            <ac:spMk id="21" creationId="{11706CED-C4EA-4DA3-A19E-B8592F3B7E80}"/>
          </ac:spMkLst>
        </pc:spChg>
        <pc:spChg chg="add mod">
          <ac:chgData name="Sellstedt, Helena" userId="876ca13f-c119-4747-b8a7-0f6cb723149f" providerId="ADAL" clId="{58E7ED24-ED63-4216-A927-23476DBD5A76}" dt="2021-11-16T14:48:22.608" v="758" actId="1035"/>
          <ac:spMkLst>
            <pc:docMk/>
            <pc:sldMk cId="1932157343" sldId="277"/>
            <ac:spMk id="22" creationId="{3706AAD0-27FD-47E0-BB0C-C11A5D63E1C5}"/>
          </ac:spMkLst>
        </pc:spChg>
        <pc:spChg chg="add mod">
          <ac:chgData name="Sellstedt, Helena" userId="876ca13f-c119-4747-b8a7-0f6cb723149f" providerId="ADAL" clId="{58E7ED24-ED63-4216-A927-23476DBD5A76}" dt="2021-11-16T14:45:41.072" v="637" actId="1076"/>
          <ac:spMkLst>
            <pc:docMk/>
            <pc:sldMk cId="1932157343" sldId="277"/>
            <ac:spMk id="23" creationId="{85BB4647-9E54-4BFD-98AD-6FB4ABB0F4D1}"/>
          </ac:spMkLst>
        </pc:spChg>
        <pc:spChg chg="add mod">
          <ac:chgData name="Sellstedt, Helena" userId="876ca13f-c119-4747-b8a7-0f6cb723149f" providerId="ADAL" clId="{58E7ED24-ED63-4216-A927-23476DBD5A76}" dt="2021-11-16T14:48:37.014" v="783" actId="1037"/>
          <ac:spMkLst>
            <pc:docMk/>
            <pc:sldMk cId="1932157343" sldId="277"/>
            <ac:spMk id="24" creationId="{7805F19E-50E4-483F-9D9A-86E1CFCF188B}"/>
          </ac:spMkLst>
        </pc:spChg>
        <pc:spChg chg="add mod">
          <ac:chgData name="Sellstedt, Helena" userId="876ca13f-c119-4747-b8a7-0f6cb723149f" providerId="ADAL" clId="{58E7ED24-ED63-4216-A927-23476DBD5A76}" dt="2021-11-16T14:45:35.636" v="636" actId="1076"/>
          <ac:spMkLst>
            <pc:docMk/>
            <pc:sldMk cId="1932157343" sldId="277"/>
            <ac:spMk id="25" creationId="{4866401B-2860-4780-A3D4-1E6A15FAF0DF}"/>
          </ac:spMkLst>
        </pc:spChg>
        <pc:spChg chg="add mod">
          <ac:chgData name="Sellstedt, Helena" userId="876ca13f-c119-4747-b8a7-0f6cb723149f" providerId="ADAL" clId="{58E7ED24-ED63-4216-A927-23476DBD5A76}" dt="2021-11-16T17:21:21.820" v="785" actId="20577"/>
          <ac:spMkLst>
            <pc:docMk/>
            <pc:sldMk cId="1932157343" sldId="277"/>
            <ac:spMk id="26" creationId="{38F857C7-D123-44E9-AF74-6FA454AB8250}"/>
          </ac:spMkLst>
        </pc:spChg>
        <pc:spChg chg="add mod">
          <ac:chgData name="Sellstedt, Helena" userId="876ca13f-c119-4747-b8a7-0f6cb723149f" providerId="ADAL" clId="{58E7ED24-ED63-4216-A927-23476DBD5A76}" dt="2021-11-16T14:47:43.661" v="725" actId="1036"/>
          <ac:spMkLst>
            <pc:docMk/>
            <pc:sldMk cId="1932157343" sldId="277"/>
            <ac:spMk id="27" creationId="{5453E4A7-9B5E-425B-BBFA-1B1524FA8EF4}"/>
          </ac:spMkLst>
        </pc:spChg>
        <pc:spChg chg="add mod">
          <ac:chgData name="Sellstedt, Helena" userId="876ca13f-c119-4747-b8a7-0f6cb723149f" providerId="ADAL" clId="{58E7ED24-ED63-4216-A927-23476DBD5A76}" dt="2021-11-16T14:47:27.234" v="721" actId="20577"/>
          <ac:spMkLst>
            <pc:docMk/>
            <pc:sldMk cId="1932157343" sldId="277"/>
            <ac:spMk id="28" creationId="{207458B9-E1E3-4D2A-88EA-76435DB5BE54}"/>
          </ac:spMkLst>
        </pc:spChg>
        <pc:spChg chg="add mod">
          <ac:chgData name="Sellstedt, Helena" userId="876ca13f-c119-4747-b8a7-0f6cb723149f" providerId="ADAL" clId="{58E7ED24-ED63-4216-A927-23476DBD5A76}" dt="2021-11-16T14:46:35.238" v="666" actId="20577"/>
          <ac:spMkLst>
            <pc:docMk/>
            <pc:sldMk cId="1932157343" sldId="277"/>
            <ac:spMk id="29" creationId="{7237BFDD-1F9E-47BF-8891-C63CF620B8EF}"/>
          </ac:spMkLst>
        </pc:spChg>
        <pc:spChg chg="add mod">
          <ac:chgData name="Sellstedt, Helena" userId="876ca13f-c119-4747-b8a7-0f6cb723149f" providerId="ADAL" clId="{58E7ED24-ED63-4216-A927-23476DBD5A76}" dt="2021-11-16T14:47:56.284" v="731" actId="20577"/>
          <ac:spMkLst>
            <pc:docMk/>
            <pc:sldMk cId="1932157343" sldId="277"/>
            <ac:spMk id="30" creationId="{714DF09E-FAE4-4A08-BE75-568CD4899B9D}"/>
          </ac:spMkLst>
        </pc:spChg>
        <pc:spChg chg="add mod">
          <ac:chgData name="Sellstedt, Helena" userId="876ca13f-c119-4747-b8a7-0f6cb723149f" providerId="ADAL" clId="{58E7ED24-ED63-4216-A927-23476DBD5A76}" dt="2021-11-16T14:48:34.223" v="777" actId="1036"/>
          <ac:spMkLst>
            <pc:docMk/>
            <pc:sldMk cId="1932157343" sldId="277"/>
            <ac:spMk id="31" creationId="{B0161F36-D791-4310-BEE8-93D6BB83758E}"/>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116732-311E-4D1E-BC1B-BD1E82BB2868}"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sv-SE"/>
        </a:p>
      </dgm:t>
    </dgm:pt>
    <dgm:pt modelId="{EDD7F53A-F2DA-4DEA-A267-9048D8DE26F8}">
      <dgm:prSet phldrT="[Text]"/>
      <dgm:spPr/>
      <dgm:t>
        <a:bodyPr/>
        <a:lstStyle/>
        <a:p>
          <a:r>
            <a:rPr lang="sv-SE" b="1" dirty="0"/>
            <a:t>Januari</a:t>
          </a:r>
          <a:r>
            <a:rPr lang="sv-SE" dirty="0"/>
            <a:t> </a:t>
          </a:r>
        </a:p>
        <a:p>
          <a:r>
            <a:rPr lang="sv-SE" dirty="0"/>
            <a:t>Anmälan seriespel</a:t>
          </a:r>
        </a:p>
      </dgm:t>
    </dgm:pt>
    <dgm:pt modelId="{D7EE3F4F-2096-4CFC-91C6-1E397C6BEF3B}" type="parTrans" cxnId="{AE78ADDE-0EB3-4082-9556-123BD60C776B}">
      <dgm:prSet/>
      <dgm:spPr/>
      <dgm:t>
        <a:bodyPr/>
        <a:lstStyle/>
        <a:p>
          <a:endParaRPr lang="sv-SE"/>
        </a:p>
      </dgm:t>
    </dgm:pt>
    <dgm:pt modelId="{86C8FE75-50E4-4480-8202-63B2110A5CDE}" type="sibTrans" cxnId="{AE78ADDE-0EB3-4082-9556-123BD60C776B}">
      <dgm:prSet/>
      <dgm:spPr/>
      <dgm:t>
        <a:bodyPr/>
        <a:lstStyle/>
        <a:p>
          <a:endParaRPr lang="sv-SE"/>
        </a:p>
      </dgm:t>
    </dgm:pt>
    <dgm:pt modelId="{E5D40250-5BD1-4D54-959C-8EF1660C6C1F}">
      <dgm:prSet phldrT="[Text]"/>
      <dgm:spPr/>
      <dgm:t>
        <a:bodyPr/>
        <a:lstStyle/>
        <a:p>
          <a:r>
            <a:rPr lang="sv-SE" b="1" dirty="0"/>
            <a:t>Februari – mars</a:t>
          </a:r>
        </a:p>
        <a:p>
          <a:r>
            <a:rPr lang="sv-SE" dirty="0"/>
            <a:t>Försäsong</a:t>
          </a:r>
        </a:p>
      </dgm:t>
    </dgm:pt>
    <dgm:pt modelId="{61631AD0-61A0-421A-92ED-6E9F6651C37F}" type="parTrans" cxnId="{A5DD11D1-92EC-42B1-9182-B90161262ED8}">
      <dgm:prSet/>
      <dgm:spPr/>
      <dgm:t>
        <a:bodyPr/>
        <a:lstStyle/>
        <a:p>
          <a:endParaRPr lang="sv-SE"/>
        </a:p>
      </dgm:t>
    </dgm:pt>
    <dgm:pt modelId="{DD4CD02C-9A56-4748-9850-5041F7A33A0F}" type="sibTrans" cxnId="{A5DD11D1-92EC-42B1-9182-B90161262ED8}">
      <dgm:prSet/>
      <dgm:spPr/>
      <dgm:t>
        <a:bodyPr/>
        <a:lstStyle/>
        <a:p>
          <a:endParaRPr lang="sv-SE"/>
        </a:p>
      </dgm:t>
    </dgm:pt>
    <dgm:pt modelId="{22BF40BE-FE0F-4847-B012-3C533A3A1ABB}">
      <dgm:prSet phldrT="[Text]"/>
      <dgm:spPr/>
      <dgm:t>
        <a:bodyPr/>
        <a:lstStyle/>
        <a:p>
          <a:r>
            <a:rPr lang="sv-SE" b="1" dirty="0"/>
            <a:t>April – Oktober</a:t>
          </a:r>
        </a:p>
        <a:p>
          <a:r>
            <a:rPr lang="sv-SE" dirty="0"/>
            <a:t>Tävlingssäsong</a:t>
          </a:r>
        </a:p>
      </dgm:t>
    </dgm:pt>
    <dgm:pt modelId="{F8A77F27-12F4-4EC1-AE95-BDBE467B949F}" type="parTrans" cxnId="{16FCDA77-58AB-44E6-9E7B-8BDBCF111A57}">
      <dgm:prSet/>
      <dgm:spPr/>
      <dgm:t>
        <a:bodyPr/>
        <a:lstStyle/>
        <a:p>
          <a:endParaRPr lang="sv-SE"/>
        </a:p>
      </dgm:t>
    </dgm:pt>
    <dgm:pt modelId="{CC9CEFD2-2ABA-4B7A-B019-F9B1271B02A2}" type="sibTrans" cxnId="{16FCDA77-58AB-44E6-9E7B-8BDBCF111A57}">
      <dgm:prSet/>
      <dgm:spPr/>
      <dgm:t>
        <a:bodyPr/>
        <a:lstStyle/>
        <a:p>
          <a:endParaRPr lang="sv-SE"/>
        </a:p>
      </dgm:t>
    </dgm:pt>
    <dgm:pt modelId="{CBE32AE9-80D7-42A3-BDCE-7EBD35A3F1F4}">
      <dgm:prSet phldrT="[Text]"/>
      <dgm:spPr/>
      <dgm:t>
        <a:bodyPr/>
        <a:lstStyle/>
        <a:p>
          <a:r>
            <a:rPr lang="sv-SE" b="1" dirty="0"/>
            <a:t>November</a:t>
          </a:r>
        </a:p>
        <a:p>
          <a:r>
            <a:rPr lang="sv-SE" dirty="0" err="1"/>
            <a:t>Silly</a:t>
          </a:r>
          <a:r>
            <a:rPr lang="sv-SE" dirty="0"/>
            <a:t> </a:t>
          </a:r>
          <a:r>
            <a:rPr lang="sv-SE" dirty="0" err="1"/>
            <a:t>season</a:t>
          </a:r>
          <a:endParaRPr lang="sv-SE" dirty="0"/>
        </a:p>
      </dgm:t>
    </dgm:pt>
    <dgm:pt modelId="{7C180D8D-DD87-4DA2-B664-DFAFA9F3AE75}" type="parTrans" cxnId="{20ADA794-4288-4617-AA9F-254548ADF6E2}">
      <dgm:prSet/>
      <dgm:spPr/>
      <dgm:t>
        <a:bodyPr/>
        <a:lstStyle/>
        <a:p>
          <a:endParaRPr lang="sv-SE"/>
        </a:p>
      </dgm:t>
    </dgm:pt>
    <dgm:pt modelId="{B3D2463F-439C-4A63-9160-9F25EEF14BAE}" type="sibTrans" cxnId="{20ADA794-4288-4617-AA9F-254548ADF6E2}">
      <dgm:prSet/>
      <dgm:spPr/>
      <dgm:t>
        <a:bodyPr/>
        <a:lstStyle/>
        <a:p>
          <a:endParaRPr lang="sv-SE"/>
        </a:p>
      </dgm:t>
    </dgm:pt>
    <dgm:pt modelId="{7C26B5F5-451B-4446-A049-51EA61F4DB0D}">
      <dgm:prSet phldrT="[Text]"/>
      <dgm:spPr/>
      <dgm:t>
        <a:bodyPr/>
        <a:lstStyle/>
        <a:p>
          <a:r>
            <a:rPr lang="sv-SE" b="1" dirty="0"/>
            <a:t>December</a:t>
          </a:r>
          <a:r>
            <a:rPr lang="sv-SE" dirty="0"/>
            <a:t> planering</a:t>
          </a:r>
        </a:p>
      </dgm:t>
    </dgm:pt>
    <dgm:pt modelId="{4A1BAD00-EFF7-43B4-8A8D-3AE2DD3054F1}" type="parTrans" cxnId="{E16B99C7-9956-4749-AC18-CA9223FA6669}">
      <dgm:prSet/>
      <dgm:spPr/>
      <dgm:t>
        <a:bodyPr/>
        <a:lstStyle/>
        <a:p>
          <a:endParaRPr lang="sv-SE"/>
        </a:p>
      </dgm:t>
    </dgm:pt>
    <dgm:pt modelId="{1226D4AA-E17D-4B96-A1E9-14DDAD569D22}" type="sibTrans" cxnId="{E16B99C7-9956-4749-AC18-CA9223FA6669}">
      <dgm:prSet/>
      <dgm:spPr/>
      <dgm:t>
        <a:bodyPr/>
        <a:lstStyle/>
        <a:p>
          <a:endParaRPr lang="sv-SE"/>
        </a:p>
      </dgm:t>
    </dgm:pt>
    <dgm:pt modelId="{813F36B4-8BFD-4D84-B879-6E7AC11FABA1}" type="pres">
      <dgm:prSet presAssocID="{20116732-311E-4D1E-BC1B-BD1E82BB2868}" presName="cycle" presStyleCnt="0">
        <dgm:presLayoutVars>
          <dgm:dir/>
          <dgm:resizeHandles val="exact"/>
        </dgm:presLayoutVars>
      </dgm:prSet>
      <dgm:spPr/>
    </dgm:pt>
    <dgm:pt modelId="{A81B4859-ED63-4D7A-A94D-EF8023DA206E}" type="pres">
      <dgm:prSet presAssocID="{EDD7F53A-F2DA-4DEA-A267-9048D8DE26F8}" presName="dummy" presStyleCnt="0"/>
      <dgm:spPr/>
    </dgm:pt>
    <dgm:pt modelId="{2F85EE7A-2AE6-45D7-92BB-0B5CCE3F44BF}" type="pres">
      <dgm:prSet presAssocID="{EDD7F53A-F2DA-4DEA-A267-9048D8DE26F8}" presName="node" presStyleLbl="revTx" presStyleIdx="0" presStyleCnt="5">
        <dgm:presLayoutVars>
          <dgm:bulletEnabled val="1"/>
        </dgm:presLayoutVars>
      </dgm:prSet>
      <dgm:spPr/>
    </dgm:pt>
    <dgm:pt modelId="{B8E972F3-17B3-40E6-9520-B9C1A44EB95A}" type="pres">
      <dgm:prSet presAssocID="{86C8FE75-50E4-4480-8202-63B2110A5CDE}" presName="sibTrans" presStyleLbl="node1" presStyleIdx="0" presStyleCnt="5"/>
      <dgm:spPr/>
    </dgm:pt>
    <dgm:pt modelId="{9ADEA756-0629-4D33-BA30-F6AAC35D45C4}" type="pres">
      <dgm:prSet presAssocID="{E5D40250-5BD1-4D54-959C-8EF1660C6C1F}" presName="dummy" presStyleCnt="0"/>
      <dgm:spPr/>
    </dgm:pt>
    <dgm:pt modelId="{5A526214-C7F6-4EF1-BCE4-D545AB22AE1E}" type="pres">
      <dgm:prSet presAssocID="{E5D40250-5BD1-4D54-959C-8EF1660C6C1F}" presName="node" presStyleLbl="revTx" presStyleIdx="1" presStyleCnt="5" custScaleX="174424">
        <dgm:presLayoutVars>
          <dgm:bulletEnabled val="1"/>
        </dgm:presLayoutVars>
      </dgm:prSet>
      <dgm:spPr/>
    </dgm:pt>
    <dgm:pt modelId="{CF481E53-8751-4A94-8149-8EFA9C7629AA}" type="pres">
      <dgm:prSet presAssocID="{DD4CD02C-9A56-4748-9850-5041F7A33A0F}" presName="sibTrans" presStyleLbl="node1" presStyleIdx="1" presStyleCnt="5"/>
      <dgm:spPr/>
    </dgm:pt>
    <dgm:pt modelId="{6B7BBB6F-E1BB-4363-9DEB-503B989C078D}" type="pres">
      <dgm:prSet presAssocID="{22BF40BE-FE0F-4847-B012-3C533A3A1ABB}" presName="dummy" presStyleCnt="0"/>
      <dgm:spPr/>
    </dgm:pt>
    <dgm:pt modelId="{BCB834B7-1AC2-4713-9424-7F782FDB0BEC}" type="pres">
      <dgm:prSet presAssocID="{22BF40BE-FE0F-4847-B012-3C533A3A1ABB}" presName="node" presStyleLbl="revTx" presStyleIdx="2" presStyleCnt="5" custScaleX="138022">
        <dgm:presLayoutVars>
          <dgm:bulletEnabled val="1"/>
        </dgm:presLayoutVars>
      </dgm:prSet>
      <dgm:spPr/>
    </dgm:pt>
    <dgm:pt modelId="{1DD87A04-0261-459F-8111-CF51D80A38DF}" type="pres">
      <dgm:prSet presAssocID="{CC9CEFD2-2ABA-4B7A-B019-F9B1271B02A2}" presName="sibTrans" presStyleLbl="node1" presStyleIdx="2" presStyleCnt="5"/>
      <dgm:spPr/>
    </dgm:pt>
    <dgm:pt modelId="{FD5497E9-62DB-4576-83B4-99088443AD3F}" type="pres">
      <dgm:prSet presAssocID="{CBE32AE9-80D7-42A3-BDCE-7EBD35A3F1F4}" presName="dummy" presStyleCnt="0"/>
      <dgm:spPr/>
    </dgm:pt>
    <dgm:pt modelId="{97F082EC-7BB9-4A6F-B7E1-62D2934BD57B}" type="pres">
      <dgm:prSet presAssocID="{CBE32AE9-80D7-42A3-BDCE-7EBD35A3F1F4}" presName="node" presStyleLbl="revTx" presStyleIdx="3" presStyleCnt="5" custScaleX="150963">
        <dgm:presLayoutVars>
          <dgm:bulletEnabled val="1"/>
        </dgm:presLayoutVars>
      </dgm:prSet>
      <dgm:spPr/>
    </dgm:pt>
    <dgm:pt modelId="{3FAF5159-4048-4FF3-9E86-C45069C11AFC}" type="pres">
      <dgm:prSet presAssocID="{B3D2463F-439C-4A63-9160-9F25EEF14BAE}" presName="sibTrans" presStyleLbl="node1" presStyleIdx="3" presStyleCnt="5"/>
      <dgm:spPr/>
    </dgm:pt>
    <dgm:pt modelId="{6AB374CA-2474-4555-ABD1-1894C2DE389F}" type="pres">
      <dgm:prSet presAssocID="{7C26B5F5-451B-4446-A049-51EA61F4DB0D}" presName="dummy" presStyleCnt="0"/>
      <dgm:spPr/>
    </dgm:pt>
    <dgm:pt modelId="{E0476094-23E5-4856-8616-8ACF16FFFEF3}" type="pres">
      <dgm:prSet presAssocID="{7C26B5F5-451B-4446-A049-51EA61F4DB0D}" presName="node" presStyleLbl="revTx" presStyleIdx="4" presStyleCnt="5" custRadScaleRad="98032" custRadScaleInc="-10838">
        <dgm:presLayoutVars>
          <dgm:bulletEnabled val="1"/>
        </dgm:presLayoutVars>
      </dgm:prSet>
      <dgm:spPr/>
    </dgm:pt>
    <dgm:pt modelId="{2A7D57CF-C0A8-4BF3-AB7E-988829A82618}" type="pres">
      <dgm:prSet presAssocID="{1226D4AA-E17D-4B96-A1E9-14DDAD569D22}" presName="sibTrans" presStyleLbl="node1" presStyleIdx="4" presStyleCnt="5"/>
      <dgm:spPr/>
    </dgm:pt>
  </dgm:ptLst>
  <dgm:cxnLst>
    <dgm:cxn modelId="{8C32031D-8A92-4263-A6EC-8E0376B37842}" type="presOf" srcId="{20116732-311E-4D1E-BC1B-BD1E82BB2868}" destId="{813F36B4-8BFD-4D84-B879-6E7AC11FABA1}" srcOrd="0" destOrd="0" presId="urn:microsoft.com/office/officeart/2005/8/layout/cycle1"/>
    <dgm:cxn modelId="{B5D7802C-DB2C-4F3F-B317-DF27D95E2EE5}" type="presOf" srcId="{CBE32AE9-80D7-42A3-BDCE-7EBD35A3F1F4}" destId="{97F082EC-7BB9-4A6F-B7E1-62D2934BD57B}" srcOrd="0" destOrd="0" presId="urn:microsoft.com/office/officeart/2005/8/layout/cycle1"/>
    <dgm:cxn modelId="{9B31CD68-FBA1-47FE-B20C-F2CED6E4D2CE}" type="presOf" srcId="{CC9CEFD2-2ABA-4B7A-B019-F9B1271B02A2}" destId="{1DD87A04-0261-459F-8111-CF51D80A38DF}" srcOrd="0" destOrd="0" presId="urn:microsoft.com/office/officeart/2005/8/layout/cycle1"/>
    <dgm:cxn modelId="{683B8D6D-8A14-44F7-9CCA-DED5A65A0E92}" type="presOf" srcId="{EDD7F53A-F2DA-4DEA-A267-9048D8DE26F8}" destId="{2F85EE7A-2AE6-45D7-92BB-0B5CCE3F44BF}" srcOrd="0" destOrd="0" presId="urn:microsoft.com/office/officeart/2005/8/layout/cycle1"/>
    <dgm:cxn modelId="{16FCDA77-58AB-44E6-9E7B-8BDBCF111A57}" srcId="{20116732-311E-4D1E-BC1B-BD1E82BB2868}" destId="{22BF40BE-FE0F-4847-B012-3C533A3A1ABB}" srcOrd="2" destOrd="0" parTransId="{F8A77F27-12F4-4EC1-AE95-BDBE467B949F}" sibTransId="{CC9CEFD2-2ABA-4B7A-B019-F9B1271B02A2}"/>
    <dgm:cxn modelId="{4754B086-A099-401C-A288-ACD85C5AA4A0}" type="presOf" srcId="{1226D4AA-E17D-4B96-A1E9-14DDAD569D22}" destId="{2A7D57CF-C0A8-4BF3-AB7E-988829A82618}" srcOrd="0" destOrd="0" presId="urn:microsoft.com/office/officeart/2005/8/layout/cycle1"/>
    <dgm:cxn modelId="{3D88928A-024B-4673-A1E1-7137274CB003}" type="presOf" srcId="{22BF40BE-FE0F-4847-B012-3C533A3A1ABB}" destId="{BCB834B7-1AC2-4713-9424-7F782FDB0BEC}" srcOrd="0" destOrd="0" presId="urn:microsoft.com/office/officeart/2005/8/layout/cycle1"/>
    <dgm:cxn modelId="{B74CC993-1F41-45D7-A305-A14785BF50DC}" type="presOf" srcId="{B3D2463F-439C-4A63-9160-9F25EEF14BAE}" destId="{3FAF5159-4048-4FF3-9E86-C45069C11AFC}" srcOrd="0" destOrd="0" presId="urn:microsoft.com/office/officeart/2005/8/layout/cycle1"/>
    <dgm:cxn modelId="{20ADA794-4288-4617-AA9F-254548ADF6E2}" srcId="{20116732-311E-4D1E-BC1B-BD1E82BB2868}" destId="{CBE32AE9-80D7-42A3-BDCE-7EBD35A3F1F4}" srcOrd="3" destOrd="0" parTransId="{7C180D8D-DD87-4DA2-B664-DFAFA9F3AE75}" sibTransId="{B3D2463F-439C-4A63-9160-9F25EEF14BAE}"/>
    <dgm:cxn modelId="{83197BB6-66EB-4EDD-91D0-AA25EEB7249D}" type="presOf" srcId="{7C26B5F5-451B-4446-A049-51EA61F4DB0D}" destId="{E0476094-23E5-4856-8616-8ACF16FFFEF3}" srcOrd="0" destOrd="0" presId="urn:microsoft.com/office/officeart/2005/8/layout/cycle1"/>
    <dgm:cxn modelId="{E16B99C7-9956-4749-AC18-CA9223FA6669}" srcId="{20116732-311E-4D1E-BC1B-BD1E82BB2868}" destId="{7C26B5F5-451B-4446-A049-51EA61F4DB0D}" srcOrd="4" destOrd="0" parTransId="{4A1BAD00-EFF7-43B4-8A8D-3AE2DD3054F1}" sibTransId="{1226D4AA-E17D-4B96-A1E9-14DDAD569D22}"/>
    <dgm:cxn modelId="{A5DD11D1-92EC-42B1-9182-B90161262ED8}" srcId="{20116732-311E-4D1E-BC1B-BD1E82BB2868}" destId="{E5D40250-5BD1-4D54-959C-8EF1660C6C1F}" srcOrd="1" destOrd="0" parTransId="{61631AD0-61A0-421A-92ED-6E9F6651C37F}" sibTransId="{DD4CD02C-9A56-4748-9850-5041F7A33A0F}"/>
    <dgm:cxn modelId="{AE78ADDE-0EB3-4082-9556-123BD60C776B}" srcId="{20116732-311E-4D1E-BC1B-BD1E82BB2868}" destId="{EDD7F53A-F2DA-4DEA-A267-9048D8DE26F8}" srcOrd="0" destOrd="0" parTransId="{D7EE3F4F-2096-4CFC-91C6-1E397C6BEF3B}" sibTransId="{86C8FE75-50E4-4480-8202-63B2110A5CDE}"/>
    <dgm:cxn modelId="{01FA33F3-50B1-49E2-85A4-408F9DA944BB}" type="presOf" srcId="{86C8FE75-50E4-4480-8202-63B2110A5CDE}" destId="{B8E972F3-17B3-40E6-9520-B9C1A44EB95A}" srcOrd="0" destOrd="0" presId="urn:microsoft.com/office/officeart/2005/8/layout/cycle1"/>
    <dgm:cxn modelId="{3DCFA1F3-2612-4977-8961-B2AC2A4C40C7}" type="presOf" srcId="{E5D40250-5BD1-4D54-959C-8EF1660C6C1F}" destId="{5A526214-C7F6-4EF1-BCE4-D545AB22AE1E}" srcOrd="0" destOrd="0" presId="urn:microsoft.com/office/officeart/2005/8/layout/cycle1"/>
    <dgm:cxn modelId="{E0D6F8F6-1242-4E93-9D2E-E07154C4E0F1}" type="presOf" srcId="{DD4CD02C-9A56-4748-9850-5041F7A33A0F}" destId="{CF481E53-8751-4A94-8149-8EFA9C7629AA}" srcOrd="0" destOrd="0" presId="urn:microsoft.com/office/officeart/2005/8/layout/cycle1"/>
    <dgm:cxn modelId="{145402C0-BCC1-4985-BBDA-69E3F658E49F}" type="presParOf" srcId="{813F36B4-8BFD-4D84-B879-6E7AC11FABA1}" destId="{A81B4859-ED63-4D7A-A94D-EF8023DA206E}" srcOrd="0" destOrd="0" presId="urn:microsoft.com/office/officeart/2005/8/layout/cycle1"/>
    <dgm:cxn modelId="{059BC0E8-59E5-4D3B-8A2A-6F9C527D3641}" type="presParOf" srcId="{813F36B4-8BFD-4D84-B879-6E7AC11FABA1}" destId="{2F85EE7A-2AE6-45D7-92BB-0B5CCE3F44BF}" srcOrd="1" destOrd="0" presId="urn:microsoft.com/office/officeart/2005/8/layout/cycle1"/>
    <dgm:cxn modelId="{70395775-069D-42AC-B7B7-AA50BA932CD7}" type="presParOf" srcId="{813F36B4-8BFD-4D84-B879-6E7AC11FABA1}" destId="{B8E972F3-17B3-40E6-9520-B9C1A44EB95A}" srcOrd="2" destOrd="0" presId="urn:microsoft.com/office/officeart/2005/8/layout/cycle1"/>
    <dgm:cxn modelId="{057C8ED4-329E-4423-BA65-F2D1F3557E5E}" type="presParOf" srcId="{813F36B4-8BFD-4D84-B879-6E7AC11FABA1}" destId="{9ADEA756-0629-4D33-BA30-F6AAC35D45C4}" srcOrd="3" destOrd="0" presId="urn:microsoft.com/office/officeart/2005/8/layout/cycle1"/>
    <dgm:cxn modelId="{6D3E7B36-FD68-4C43-857C-39AC93AA2CA2}" type="presParOf" srcId="{813F36B4-8BFD-4D84-B879-6E7AC11FABA1}" destId="{5A526214-C7F6-4EF1-BCE4-D545AB22AE1E}" srcOrd="4" destOrd="0" presId="urn:microsoft.com/office/officeart/2005/8/layout/cycle1"/>
    <dgm:cxn modelId="{E8711999-E14D-47E0-991A-D3A298FC2E93}" type="presParOf" srcId="{813F36B4-8BFD-4D84-B879-6E7AC11FABA1}" destId="{CF481E53-8751-4A94-8149-8EFA9C7629AA}" srcOrd="5" destOrd="0" presId="urn:microsoft.com/office/officeart/2005/8/layout/cycle1"/>
    <dgm:cxn modelId="{32B1D702-FBA5-445F-B83C-76C236C2CF0C}" type="presParOf" srcId="{813F36B4-8BFD-4D84-B879-6E7AC11FABA1}" destId="{6B7BBB6F-E1BB-4363-9DEB-503B989C078D}" srcOrd="6" destOrd="0" presId="urn:microsoft.com/office/officeart/2005/8/layout/cycle1"/>
    <dgm:cxn modelId="{689163A4-4163-4B7D-B07D-334D9235A77C}" type="presParOf" srcId="{813F36B4-8BFD-4D84-B879-6E7AC11FABA1}" destId="{BCB834B7-1AC2-4713-9424-7F782FDB0BEC}" srcOrd="7" destOrd="0" presId="urn:microsoft.com/office/officeart/2005/8/layout/cycle1"/>
    <dgm:cxn modelId="{0D424D31-D4C9-47C6-B750-453C93B9C860}" type="presParOf" srcId="{813F36B4-8BFD-4D84-B879-6E7AC11FABA1}" destId="{1DD87A04-0261-459F-8111-CF51D80A38DF}" srcOrd="8" destOrd="0" presId="urn:microsoft.com/office/officeart/2005/8/layout/cycle1"/>
    <dgm:cxn modelId="{543BA517-8B02-4BA0-8B3E-CA33AD5A292C}" type="presParOf" srcId="{813F36B4-8BFD-4D84-B879-6E7AC11FABA1}" destId="{FD5497E9-62DB-4576-83B4-99088443AD3F}" srcOrd="9" destOrd="0" presId="urn:microsoft.com/office/officeart/2005/8/layout/cycle1"/>
    <dgm:cxn modelId="{A2D61761-D2AB-45D2-B49A-95B1F0B0D574}" type="presParOf" srcId="{813F36B4-8BFD-4D84-B879-6E7AC11FABA1}" destId="{97F082EC-7BB9-4A6F-B7E1-62D2934BD57B}" srcOrd="10" destOrd="0" presId="urn:microsoft.com/office/officeart/2005/8/layout/cycle1"/>
    <dgm:cxn modelId="{6C5E1978-F1CD-417F-9EDB-C8DE614260BC}" type="presParOf" srcId="{813F36B4-8BFD-4D84-B879-6E7AC11FABA1}" destId="{3FAF5159-4048-4FF3-9E86-C45069C11AFC}" srcOrd="11" destOrd="0" presId="urn:microsoft.com/office/officeart/2005/8/layout/cycle1"/>
    <dgm:cxn modelId="{703E5DCC-E91D-4102-9C09-2F066D695DA5}" type="presParOf" srcId="{813F36B4-8BFD-4D84-B879-6E7AC11FABA1}" destId="{6AB374CA-2474-4555-ABD1-1894C2DE389F}" srcOrd="12" destOrd="0" presId="urn:microsoft.com/office/officeart/2005/8/layout/cycle1"/>
    <dgm:cxn modelId="{7E6F44FE-4866-408B-94CA-A44D67396B7C}" type="presParOf" srcId="{813F36B4-8BFD-4D84-B879-6E7AC11FABA1}" destId="{E0476094-23E5-4856-8616-8ACF16FFFEF3}" srcOrd="13" destOrd="0" presId="urn:microsoft.com/office/officeart/2005/8/layout/cycle1"/>
    <dgm:cxn modelId="{85D322E8-7684-4FAF-8BE7-A458D0E98778}" type="presParOf" srcId="{813F36B4-8BFD-4D84-B879-6E7AC11FABA1}" destId="{2A7D57CF-C0A8-4BF3-AB7E-988829A82618}" srcOrd="14" destOrd="0" presId="urn:microsoft.com/office/officeart/2005/8/layout/cycle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85EE7A-2AE6-45D7-92BB-0B5CCE3F44BF}">
      <dsp:nvSpPr>
        <dsp:cNvPr id="0" name=""/>
        <dsp:cNvSpPr/>
      </dsp:nvSpPr>
      <dsp:spPr>
        <a:xfrm>
          <a:off x="3650543" y="30923"/>
          <a:ext cx="1096605" cy="1096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sv-SE" sz="1900" b="1" kern="1200" dirty="0"/>
            <a:t>Januari</a:t>
          </a:r>
          <a:r>
            <a:rPr lang="sv-SE" sz="1900" kern="1200" dirty="0"/>
            <a:t> </a:t>
          </a:r>
        </a:p>
        <a:p>
          <a:pPr marL="0" lvl="0" indent="0" algn="ctr" defTabSz="844550">
            <a:lnSpc>
              <a:spcPct val="90000"/>
            </a:lnSpc>
            <a:spcBef>
              <a:spcPct val="0"/>
            </a:spcBef>
            <a:spcAft>
              <a:spcPct val="35000"/>
            </a:spcAft>
            <a:buNone/>
          </a:pPr>
          <a:r>
            <a:rPr lang="sv-SE" sz="1900" kern="1200" dirty="0"/>
            <a:t>Anmälan seriespel</a:t>
          </a:r>
        </a:p>
      </dsp:txBody>
      <dsp:txXfrm>
        <a:off x="3650543" y="30923"/>
        <a:ext cx="1096605" cy="1096605"/>
      </dsp:txXfrm>
    </dsp:sp>
    <dsp:sp modelId="{B8E972F3-17B3-40E6-9520-B9C1A44EB95A}">
      <dsp:nvSpPr>
        <dsp:cNvPr id="0" name=""/>
        <dsp:cNvSpPr/>
      </dsp:nvSpPr>
      <dsp:spPr>
        <a:xfrm>
          <a:off x="1068585" y="-1083"/>
          <a:ext cx="4114443" cy="4114443"/>
        </a:xfrm>
        <a:prstGeom prst="circularArrow">
          <a:avLst>
            <a:gd name="adj1" fmla="val 5197"/>
            <a:gd name="adj2" fmla="val 335701"/>
            <a:gd name="adj3" fmla="val 21294104"/>
            <a:gd name="adj4" fmla="val 19765484"/>
            <a:gd name="adj5" fmla="val 606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526214-C7F6-4EF1-BCE4-D545AB22AE1E}">
      <dsp:nvSpPr>
        <dsp:cNvPr id="0" name=""/>
        <dsp:cNvSpPr/>
      </dsp:nvSpPr>
      <dsp:spPr>
        <a:xfrm>
          <a:off x="3905649" y="2071966"/>
          <a:ext cx="1912743" cy="1096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sv-SE" sz="1900" b="1" kern="1200" dirty="0"/>
            <a:t>Februari – mars</a:t>
          </a:r>
        </a:p>
        <a:p>
          <a:pPr marL="0" lvl="0" indent="0" algn="ctr" defTabSz="844550">
            <a:lnSpc>
              <a:spcPct val="90000"/>
            </a:lnSpc>
            <a:spcBef>
              <a:spcPct val="0"/>
            </a:spcBef>
            <a:spcAft>
              <a:spcPct val="35000"/>
            </a:spcAft>
            <a:buNone/>
          </a:pPr>
          <a:r>
            <a:rPr lang="sv-SE" sz="1900" kern="1200" dirty="0"/>
            <a:t>Försäsong</a:t>
          </a:r>
        </a:p>
      </dsp:txBody>
      <dsp:txXfrm>
        <a:off x="3905649" y="2071966"/>
        <a:ext cx="1912743" cy="1096605"/>
      </dsp:txXfrm>
    </dsp:sp>
    <dsp:sp modelId="{CF481E53-8751-4A94-8149-8EFA9C7629AA}">
      <dsp:nvSpPr>
        <dsp:cNvPr id="0" name=""/>
        <dsp:cNvSpPr/>
      </dsp:nvSpPr>
      <dsp:spPr>
        <a:xfrm>
          <a:off x="1068585" y="-1083"/>
          <a:ext cx="4114443" cy="4114443"/>
        </a:xfrm>
        <a:prstGeom prst="circularArrow">
          <a:avLst>
            <a:gd name="adj1" fmla="val 5197"/>
            <a:gd name="adj2" fmla="val 335701"/>
            <a:gd name="adj3" fmla="val 3594858"/>
            <a:gd name="adj4" fmla="val 2252612"/>
            <a:gd name="adj5" fmla="val 606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B834B7-1AC2-4713-9424-7F782FDB0BEC}">
      <dsp:nvSpPr>
        <dsp:cNvPr id="0" name=""/>
        <dsp:cNvSpPr/>
      </dsp:nvSpPr>
      <dsp:spPr>
        <a:xfrm>
          <a:off x="2369028" y="3333399"/>
          <a:ext cx="1513557" cy="1096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sv-SE" sz="1900" b="1" kern="1200" dirty="0"/>
            <a:t>April – Oktober</a:t>
          </a:r>
        </a:p>
        <a:p>
          <a:pPr marL="0" lvl="0" indent="0" algn="ctr" defTabSz="844550">
            <a:lnSpc>
              <a:spcPct val="90000"/>
            </a:lnSpc>
            <a:spcBef>
              <a:spcPct val="0"/>
            </a:spcBef>
            <a:spcAft>
              <a:spcPct val="35000"/>
            </a:spcAft>
            <a:buNone/>
          </a:pPr>
          <a:r>
            <a:rPr lang="sv-SE" sz="1900" kern="1200" dirty="0"/>
            <a:t>Tävlingssäsong</a:t>
          </a:r>
        </a:p>
      </dsp:txBody>
      <dsp:txXfrm>
        <a:off x="2369028" y="3333399"/>
        <a:ext cx="1513557" cy="1096605"/>
      </dsp:txXfrm>
    </dsp:sp>
    <dsp:sp modelId="{1DD87A04-0261-459F-8111-CF51D80A38DF}">
      <dsp:nvSpPr>
        <dsp:cNvPr id="0" name=""/>
        <dsp:cNvSpPr/>
      </dsp:nvSpPr>
      <dsp:spPr>
        <a:xfrm>
          <a:off x="1068585" y="-1083"/>
          <a:ext cx="4114443" cy="4114443"/>
        </a:xfrm>
        <a:prstGeom prst="circularArrow">
          <a:avLst>
            <a:gd name="adj1" fmla="val 5197"/>
            <a:gd name="adj2" fmla="val 335701"/>
            <a:gd name="adj3" fmla="val 8211686"/>
            <a:gd name="adj4" fmla="val 6869440"/>
            <a:gd name="adj5" fmla="val 606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F082EC-7BB9-4A6F-B7E1-62D2934BD57B}">
      <dsp:nvSpPr>
        <dsp:cNvPr id="0" name=""/>
        <dsp:cNvSpPr/>
      </dsp:nvSpPr>
      <dsp:spPr>
        <a:xfrm>
          <a:off x="561858" y="2071966"/>
          <a:ext cx="1655468" cy="1096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sv-SE" sz="1900" b="1" kern="1200" dirty="0"/>
            <a:t>November</a:t>
          </a:r>
        </a:p>
        <a:p>
          <a:pPr marL="0" lvl="0" indent="0" algn="ctr" defTabSz="844550">
            <a:lnSpc>
              <a:spcPct val="90000"/>
            </a:lnSpc>
            <a:spcBef>
              <a:spcPct val="0"/>
            </a:spcBef>
            <a:spcAft>
              <a:spcPct val="35000"/>
            </a:spcAft>
            <a:buNone/>
          </a:pPr>
          <a:r>
            <a:rPr lang="sv-SE" sz="1900" kern="1200" dirty="0" err="1"/>
            <a:t>Silly</a:t>
          </a:r>
          <a:r>
            <a:rPr lang="sv-SE" sz="1900" kern="1200" dirty="0"/>
            <a:t> </a:t>
          </a:r>
          <a:r>
            <a:rPr lang="sv-SE" sz="1900" kern="1200" dirty="0" err="1"/>
            <a:t>season</a:t>
          </a:r>
          <a:endParaRPr lang="sv-SE" sz="1900" kern="1200" dirty="0"/>
        </a:p>
      </dsp:txBody>
      <dsp:txXfrm>
        <a:off x="561858" y="2071966"/>
        <a:ext cx="1655468" cy="1096605"/>
      </dsp:txXfrm>
    </dsp:sp>
    <dsp:sp modelId="{3FAF5159-4048-4FF3-9E86-C45069C11AFC}">
      <dsp:nvSpPr>
        <dsp:cNvPr id="0" name=""/>
        <dsp:cNvSpPr/>
      </dsp:nvSpPr>
      <dsp:spPr>
        <a:xfrm>
          <a:off x="1067703" y="73640"/>
          <a:ext cx="4114443" cy="4114443"/>
        </a:xfrm>
        <a:prstGeom prst="circularArrow">
          <a:avLst>
            <a:gd name="adj1" fmla="val 5197"/>
            <a:gd name="adj2" fmla="val 335701"/>
            <a:gd name="adj3" fmla="val 12291005"/>
            <a:gd name="adj4" fmla="val 10910927"/>
            <a:gd name="adj5" fmla="val 606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476094-23E5-4856-8616-8ACF16FFFEF3}">
      <dsp:nvSpPr>
        <dsp:cNvPr id="0" name=""/>
        <dsp:cNvSpPr/>
      </dsp:nvSpPr>
      <dsp:spPr>
        <a:xfrm>
          <a:off x="1460958" y="109219"/>
          <a:ext cx="1096605" cy="1096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sv-SE" sz="1900" b="1" kern="1200" dirty="0"/>
            <a:t>December</a:t>
          </a:r>
          <a:r>
            <a:rPr lang="sv-SE" sz="1900" kern="1200" dirty="0"/>
            <a:t> planering</a:t>
          </a:r>
        </a:p>
      </dsp:txBody>
      <dsp:txXfrm>
        <a:off x="1460958" y="109219"/>
        <a:ext cx="1096605" cy="1096605"/>
      </dsp:txXfrm>
    </dsp:sp>
    <dsp:sp modelId="{2A7D57CF-C0A8-4BF3-AB7E-988829A82618}">
      <dsp:nvSpPr>
        <dsp:cNvPr id="0" name=""/>
        <dsp:cNvSpPr/>
      </dsp:nvSpPr>
      <dsp:spPr>
        <a:xfrm>
          <a:off x="1128801" y="15868"/>
          <a:ext cx="4114443" cy="4114443"/>
        </a:xfrm>
        <a:prstGeom prst="circularArrow">
          <a:avLst>
            <a:gd name="adj1" fmla="val 5197"/>
            <a:gd name="adj2" fmla="val 335701"/>
            <a:gd name="adj3" fmla="val 16748770"/>
            <a:gd name="adj4" fmla="val 14991823"/>
            <a:gd name="adj5" fmla="val 6063"/>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3674D8-4EBA-43F2-9FD2-73FD7D8E1BB1}" type="datetimeFigureOut">
              <a:rPr lang="sv-SE" smtClean="0"/>
              <a:t>2021-11-19</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E24997-5B8B-4320-AAD5-ABBBD11144E8}" type="slidenum">
              <a:rPr lang="sv-SE" smtClean="0"/>
              <a:t>‹#›</a:t>
            </a:fld>
            <a:endParaRPr lang="sv-SE"/>
          </a:p>
        </p:txBody>
      </p:sp>
    </p:spTree>
    <p:extLst>
      <p:ext uri="{BB962C8B-B14F-4D97-AF65-F5344CB8AC3E}">
        <p14:creationId xmlns:p14="http://schemas.microsoft.com/office/powerpoint/2010/main" val="12372839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För att presentera ämnet och varför vi börjat skapa en Öjersjömodell är för att vi ser behovet nu när vi har fler äldre barn i föreningen. Vi behöver därför organisera oss så att vi på bästa sätt kan möta deras krav och önskemål så långt det går. Viktigt dock att poängtera att vi aldrig kommer kunna göra alla nöjda men vi måste göra ett försök och fånga upp majoriteten.</a:t>
            </a:r>
          </a:p>
          <a:p>
            <a:r>
              <a:rPr lang="sv-SE" dirty="0"/>
              <a:t>Vill börja med denna bilen för att sätta scenen då jag inte tror alla vet vår vision och verksamhetsidé. Då vi ska var de självklara valet för alla som vill spela fotboll måste vi jobba på varför man inte ska behöva söka sig någon annan stans om man vill utvecklas. Tror heller aldrig det är fel att visa vision och verksamhetsidé på alla ledarträffar.</a:t>
            </a:r>
          </a:p>
        </p:txBody>
      </p:sp>
      <p:sp>
        <p:nvSpPr>
          <p:cNvPr id="4" name="Slide Number Placeholder 3"/>
          <p:cNvSpPr>
            <a:spLocks noGrp="1"/>
          </p:cNvSpPr>
          <p:nvPr>
            <p:ph type="sldNum" sz="quarter" idx="5"/>
          </p:nvPr>
        </p:nvSpPr>
        <p:spPr/>
        <p:txBody>
          <a:bodyPr/>
          <a:lstStyle/>
          <a:p>
            <a:fld id="{E1E24997-5B8B-4320-AAD5-ABBBD11144E8}" type="slidenum">
              <a:rPr lang="sv-SE" smtClean="0"/>
              <a:t>1</a:t>
            </a:fld>
            <a:endParaRPr lang="sv-SE"/>
          </a:p>
        </p:txBody>
      </p:sp>
    </p:spTree>
    <p:extLst>
      <p:ext uri="{BB962C8B-B14F-4D97-AF65-F5344CB8AC3E}">
        <p14:creationId xmlns:p14="http://schemas.microsoft.com/office/powerpoint/2010/main" val="4019730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Vill här säga att vi idag redan har en spelarutvecklingsplan och att den är beskriven i ett av våra policydokument (som vi hoppas alla har läst).</a:t>
            </a:r>
          </a:p>
          <a:p>
            <a:r>
              <a:rPr lang="sv-SE" dirty="0"/>
              <a:t>Som förening idag tillåter vi från en viss ålder spel och träningar med andra lag i föreningen. Baserat på vad vi lärt oss, mycket från det gångna året, så behöver den utvecklas och nyanseras.</a:t>
            </a:r>
          </a:p>
        </p:txBody>
      </p:sp>
      <p:sp>
        <p:nvSpPr>
          <p:cNvPr id="4" name="Slide Number Placeholder 3"/>
          <p:cNvSpPr>
            <a:spLocks noGrp="1"/>
          </p:cNvSpPr>
          <p:nvPr>
            <p:ph type="sldNum" sz="quarter" idx="5"/>
          </p:nvPr>
        </p:nvSpPr>
        <p:spPr/>
        <p:txBody>
          <a:bodyPr/>
          <a:lstStyle/>
          <a:p>
            <a:fld id="{E1E24997-5B8B-4320-AAD5-ABBBD11144E8}" type="slidenum">
              <a:rPr lang="sv-SE" smtClean="0"/>
              <a:t>2</a:t>
            </a:fld>
            <a:endParaRPr lang="sv-SE"/>
          </a:p>
        </p:txBody>
      </p:sp>
    </p:spTree>
    <p:extLst>
      <p:ext uri="{BB962C8B-B14F-4D97-AF65-F5344CB8AC3E}">
        <p14:creationId xmlns:p14="http://schemas.microsoft.com/office/powerpoint/2010/main" val="2152418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Här presenteras modellen. Självklart måste alla lag får sätta sin prägel på detta utifrån sina förutsättningar men detta är den övergripande modellen.</a:t>
            </a:r>
          </a:p>
          <a:p>
            <a:r>
              <a:rPr lang="sv-SE" dirty="0"/>
              <a:t>Lagen till höger spelar och tränar i sina egna lag. Detta stämmer överens med dagens spelarpolicy. Inlån till matcher kan ske även här men i regel spelar man med sitt lag.</a:t>
            </a:r>
          </a:p>
          <a:p>
            <a:r>
              <a:rPr lang="sv-SE" dirty="0"/>
              <a:t>Däremot händer det något med lagen till vänster. Här måste vi börja tänka annorlunda. Det är en tanke bakom att vi nu börjar benämna lagen med a och b istället för PFX, och det är att lagindelningarna blir mer sekundära och </a:t>
            </a:r>
            <a:r>
              <a:rPr lang="sv-SE" dirty="0" err="1"/>
              <a:t>helheltstänket</a:t>
            </a:r>
            <a:r>
              <a:rPr lang="sv-SE" dirty="0"/>
              <a:t> och individens utveckling blir mer primärt. Det sker en succesiv utveckling mot detta från B pojk/</a:t>
            </a:r>
            <a:r>
              <a:rPr lang="sv-SE" dirty="0" err="1"/>
              <a:t>flick</a:t>
            </a:r>
            <a:r>
              <a:rPr lang="sv-SE" dirty="0"/>
              <a:t> 2 till en mer eller mindre helt integrerad verksamhet i a-pojk/</a:t>
            </a:r>
            <a:r>
              <a:rPr lang="sv-SE" dirty="0" err="1"/>
              <a:t>flick</a:t>
            </a:r>
            <a:r>
              <a:rPr lang="sv-SE" dirty="0"/>
              <a:t> 1 och 2. </a:t>
            </a:r>
          </a:p>
          <a:p>
            <a:r>
              <a:rPr lang="sv-SE" dirty="0"/>
              <a:t>Pilarna symboliserar också hur spelare går mellan lagen. </a:t>
            </a:r>
          </a:p>
          <a:p>
            <a:r>
              <a:rPr lang="sv-SE" dirty="0"/>
              <a:t>Hur vi och när vi uppnår detta på bästa sätt visas på nästa sida.</a:t>
            </a:r>
          </a:p>
        </p:txBody>
      </p:sp>
      <p:sp>
        <p:nvSpPr>
          <p:cNvPr id="4" name="Slide Number Placeholder 3"/>
          <p:cNvSpPr>
            <a:spLocks noGrp="1"/>
          </p:cNvSpPr>
          <p:nvPr>
            <p:ph type="sldNum" sz="quarter" idx="5"/>
          </p:nvPr>
        </p:nvSpPr>
        <p:spPr/>
        <p:txBody>
          <a:bodyPr/>
          <a:lstStyle/>
          <a:p>
            <a:fld id="{E1E24997-5B8B-4320-AAD5-ABBBD11144E8}" type="slidenum">
              <a:rPr lang="sv-SE" smtClean="0"/>
              <a:t>4</a:t>
            </a:fld>
            <a:endParaRPr lang="sv-SE"/>
          </a:p>
        </p:txBody>
      </p:sp>
    </p:spTree>
    <p:extLst>
      <p:ext uri="{BB962C8B-B14F-4D97-AF65-F5344CB8AC3E}">
        <p14:creationId xmlns:p14="http://schemas.microsoft.com/office/powerpoint/2010/main" val="2956781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F6A48-F020-41B5-98DE-BF3C6FF6B5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5F533812-6970-4F7E-BFA2-44BB3C37DC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D6E3627B-6E13-4BCC-8945-FC2F7F71053D}"/>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333B21D5-6412-4BEA-AFEC-D0C2C2D11CE7}"/>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741B0D9-5C40-4FFD-A190-A232793367AF}"/>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3681763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6FC6A-97F6-441B-90CB-7DF0D1947B58}"/>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655B0729-359D-4067-A4BD-47C3C0E337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D31E15E3-390A-4BD7-BD02-6AC091676C76}"/>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5CE5F617-C774-4321-8310-839A98B2F4AF}"/>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791B402-F149-497E-AE99-17510A08C491}"/>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27842680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43EE01-BB12-4795-883F-E9779DEFB3A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26DEA318-B6A6-4A90-A8C9-53F4388A131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FA27B2C7-045F-47FB-A318-C9B18D697D1E}"/>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4B763C1D-08C9-41BD-BAF0-D4D126AA3213}"/>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68F5E0B-3CC2-4305-A85E-05A60C5289C8}"/>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26647236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653896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7028703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96086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308573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1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758808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1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850737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1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331716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7363792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B2166-A86E-41EA-A25C-6E24370403B3}"/>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8BC6D339-724D-4F89-809F-D66834AAE3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C58C2432-3675-46BB-803C-45CB67437C3D}"/>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762E0D0F-D81F-4941-8E7B-A1149324CB1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9FFCBB0E-0B98-4658-8D38-3004F1FAEBC7}"/>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29150648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1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93771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385973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1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572791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1DDF9-3171-446B-BB4A-BE0E9B2FE50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E1539B90-1C3C-434E-8968-F62DA8B692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D70ED50-A00F-459E-BE49-581B9D23AF27}"/>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506D3F3C-B124-432C-9A6B-24A3EC8A7E7F}"/>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FA57725D-A76F-402B-B38E-B012A3609841}"/>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2832392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820E3-2F15-4284-BA11-19CB7DA6C4B5}"/>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FCB767EB-48FA-4B67-8E8B-05E8B3190C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35CC5844-2A71-492D-8B43-DD9157F755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6F03209E-54D4-47C9-85FE-6EB11A44B864}"/>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6" name="Footer Placeholder 5">
            <a:extLst>
              <a:ext uri="{FF2B5EF4-FFF2-40B4-BE49-F238E27FC236}">
                <a16:creationId xmlns:a16="http://schemas.microsoft.com/office/drawing/2014/main" id="{E43FA8CE-EA8C-4BB0-8B21-5F1DA6ED58AB}"/>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5CBF4F8A-9AA6-4F3D-A68F-229110A3806F}"/>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883071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6A3ED-AEA9-4A91-857A-F1DE9615F0B6}"/>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BB8AE51B-D57A-4404-9E4A-01DFCDC21B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120DDD-7B96-48D7-B8A5-4ED93BFD45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4828FA9D-5B61-45F5-B353-BEFC60FE72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E792E5-26C0-4429-864B-C15F3BEF0A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38E6CB61-67F6-42E6-9111-2A12E24A3277}"/>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8" name="Footer Placeholder 7">
            <a:extLst>
              <a:ext uri="{FF2B5EF4-FFF2-40B4-BE49-F238E27FC236}">
                <a16:creationId xmlns:a16="http://schemas.microsoft.com/office/drawing/2014/main" id="{D07B9796-AFEE-4420-947E-AD0B8B68B588}"/>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AADF6680-23E0-4DFB-B681-4C5FB85846DB}"/>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19883851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400A6-62DB-4DE3-8754-BB6FCC657951}"/>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9EB2005A-9BCD-49C2-8328-2500ADC38CD3}"/>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4" name="Footer Placeholder 3">
            <a:extLst>
              <a:ext uri="{FF2B5EF4-FFF2-40B4-BE49-F238E27FC236}">
                <a16:creationId xmlns:a16="http://schemas.microsoft.com/office/drawing/2014/main" id="{AD6DB655-652C-485E-9A57-AEC66C2A1D59}"/>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540D4412-1CE6-4628-9B70-65C028E74DAB}"/>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4019544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2C3E34-98E5-4339-9F04-249F10AAD183}"/>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3" name="Footer Placeholder 2">
            <a:extLst>
              <a:ext uri="{FF2B5EF4-FFF2-40B4-BE49-F238E27FC236}">
                <a16:creationId xmlns:a16="http://schemas.microsoft.com/office/drawing/2014/main" id="{E97D27F0-3039-4CC3-ABCA-73AD307F00F1}"/>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F9FED0A4-52DD-4686-88DC-1CBB425E8F0F}"/>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2878315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CE8A9-FA5B-4231-8561-45FBD4B8DD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68D79CFD-5295-429D-A9D5-0417E84980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E39059F2-B22F-44E0-BD6B-34905D9BE8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68891-58C8-469D-8B9E-F020CA743205}"/>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6" name="Footer Placeholder 5">
            <a:extLst>
              <a:ext uri="{FF2B5EF4-FFF2-40B4-BE49-F238E27FC236}">
                <a16:creationId xmlns:a16="http://schemas.microsoft.com/office/drawing/2014/main" id="{9DAB1F2D-E203-4679-BE9E-2764FF076005}"/>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0EAB75BB-B457-4C87-8FC6-AA756C2545E4}"/>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3307303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5298-D501-4860-B9CA-C277EA8706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7C318528-1E28-47F0-B716-12ED4727F3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D2C6198A-B271-496A-AEB1-28A467C29B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28BA7D-1245-4BCB-838F-9383349B33B7}"/>
              </a:ext>
            </a:extLst>
          </p:cNvPr>
          <p:cNvSpPr>
            <a:spLocks noGrp="1"/>
          </p:cNvSpPr>
          <p:nvPr>
            <p:ph type="dt" sz="half" idx="10"/>
          </p:nvPr>
        </p:nvSpPr>
        <p:spPr/>
        <p:txBody>
          <a:bodyPr/>
          <a:lstStyle/>
          <a:p>
            <a:fld id="{AF85A06E-E6B4-4A18-B1AB-F38F190E6FA9}" type="datetimeFigureOut">
              <a:rPr lang="sv-SE" smtClean="0"/>
              <a:t>2021-11-19</a:t>
            </a:fld>
            <a:endParaRPr lang="sv-SE"/>
          </a:p>
        </p:txBody>
      </p:sp>
      <p:sp>
        <p:nvSpPr>
          <p:cNvPr id="6" name="Footer Placeholder 5">
            <a:extLst>
              <a:ext uri="{FF2B5EF4-FFF2-40B4-BE49-F238E27FC236}">
                <a16:creationId xmlns:a16="http://schemas.microsoft.com/office/drawing/2014/main" id="{1ABEA2CF-18DA-4D4E-9CCE-376967A86B7C}"/>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EFE8616F-55F1-4AF1-A5B0-479DC1F9A484}"/>
              </a:ext>
            </a:extLst>
          </p:cNvPr>
          <p:cNvSpPr>
            <a:spLocks noGrp="1"/>
          </p:cNvSpPr>
          <p:nvPr>
            <p:ph type="sldNum" sz="quarter" idx="12"/>
          </p:nvPr>
        </p:nvSpPr>
        <p:spPr/>
        <p:txBody>
          <a:bodyPr/>
          <a:lstStyle/>
          <a:p>
            <a:fld id="{480AB078-2783-404E-88BD-D3246AB8B515}" type="slidenum">
              <a:rPr lang="sv-SE" smtClean="0"/>
              <a:t>‹#›</a:t>
            </a:fld>
            <a:endParaRPr lang="sv-SE"/>
          </a:p>
        </p:txBody>
      </p:sp>
    </p:spTree>
    <p:extLst>
      <p:ext uri="{BB962C8B-B14F-4D97-AF65-F5344CB8AC3E}">
        <p14:creationId xmlns:p14="http://schemas.microsoft.com/office/powerpoint/2010/main" val="11650391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A6637F-FC96-4D40-B201-C68BFDD5731F}"/>
              </a:ext>
            </a:extLst>
          </p:cNvPr>
          <p:cNvGraphicFramePr>
            <a:graphicFrameLocks noChangeAspect="1"/>
          </p:cNvGraphicFramePr>
          <p:nvPr userDrawn="1">
            <p:custDataLst>
              <p:tags r:id="rId13"/>
            </p:custDataLst>
            <p:extLst>
              <p:ext uri="{D42A27DB-BD31-4B8C-83A1-F6EECF244321}">
                <p14:modId xmlns:p14="http://schemas.microsoft.com/office/powerpoint/2010/main" val="189721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8" name="Object 7" hidden="1">
                        <a:extLst>
                          <a:ext uri="{FF2B5EF4-FFF2-40B4-BE49-F238E27FC236}">
                            <a16:creationId xmlns:a16="http://schemas.microsoft.com/office/drawing/2014/main" id="{C3A6637F-FC96-4D40-B201-C68BFDD5731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A4B523D-2830-4696-95A5-A2A64B599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C55ECDA2-0AFB-41A0-90B8-098B64B622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3F46035A-647F-4FC6-B2BA-99621645F7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5A06E-E6B4-4A18-B1AB-F38F190E6FA9}" type="datetimeFigureOut">
              <a:rPr lang="sv-SE" smtClean="0"/>
              <a:t>2021-11-19</a:t>
            </a:fld>
            <a:endParaRPr lang="sv-SE"/>
          </a:p>
        </p:txBody>
      </p:sp>
      <p:sp>
        <p:nvSpPr>
          <p:cNvPr id="5" name="Footer Placeholder 4">
            <a:extLst>
              <a:ext uri="{FF2B5EF4-FFF2-40B4-BE49-F238E27FC236}">
                <a16:creationId xmlns:a16="http://schemas.microsoft.com/office/drawing/2014/main" id="{66B021B4-45E3-4350-A3CA-19A2B577F0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0D5E6D4A-06C5-49D5-A37F-A44ED20A42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0AB078-2783-404E-88BD-D3246AB8B515}" type="slidenum">
              <a:rPr lang="sv-SE" smtClean="0"/>
              <a:t>‹#›</a:t>
            </a:fld>
            <a:endParaRPr lang="sv-SE"/>
          </a:p>
        </p:txBody>
      </p:sp>
    </p:spTree>
    <p:extLst>
      <p:ext uri="{BB962C8B-B14F-4D97-AF65-F5344CB8AC3E}">
        <p14:creationId xmlns:p14="http://schemas.microsoft.com/office/powerpoint/2010/main" val="2659459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E047D9-9131-49F5-A8EC-1AFC17E61038}"/>
              </a:ext>
            </a:extLst>
          </p:cNvPr>
          <p:cNvGraphicFramePr>
            <a:graphicFrameLocks noChangeAspect="1"/>
          </p:cNvGraphicFramePr>
          <p:nvPr userDrawn="1">
            <p:custDataLst>
              <p:tags r:id="rId13"/>
            </p:custDataLst>
            <p:extLst>
              <p:ext uri="{D42A27DB-BD31-4B8C-83A1-F6EECF244321}">
                <p14:modId xmlns:p14="http://schemas.microsoft.com/office/powerpoint/2010/main" val="199848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8" name="Object 7" hidden="1">
                        <a:extLst>
                          <a:ext uri="{FF2B5EF4-FFF2-40B4-BE49-F238E27FC236}">
                            <a16:creationId xmlns:a16="http://schemas.microsoft.com/office/drawing/2014/main" id="{CEE047D9-9131-49F5-A8EC-1AFC17E6103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1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1353858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2.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oleObject" Target="../embeddings/oleObject6.bin"/><Relationship Id="rId7" Type="http://schemas.openxmlformats.org/officeDocument/2006/relationships/diagramLayout" Target="../diagrams/layout1.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diagramData" Target="../diagrams/data1.xml"/><Relationship Id="rId5" Type="http://schemas.openxmlformats.org/officeDocument/2006/relationships/image" Target="../media/image2.jpeg"/><Relationship Id="rId10" Type="http://schemas.microsoft.com/office/2007/relationships/diagramDrawing" Target="../diagrams/drawing1.xml"/><Relationship Id="rId4" Type="http://schemas.openxmlformats.org/officeDocument/2006/relationships/image" Target="../media/image1.emf"/><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D3DD93-97C2-473D-86EB-FE17F27F4550}"/>
              </a:ext>
            </a:extLst>
          </p:cNvPr>
          <p:cNvGraphicFramePr>
            <a:graphicFrameLocks noChangeAspect="1"/>
          </p:cNvGraphicFramePr>
          <p:nvPr>
            <p:custDataLst>
              <p:tags r:id="rId1"/>
            </p:custDataLst>
            <p:extLst>
              <p:ext uri="{D42A27DB-BD31-4B8C-83A1-F6EECF244321}">
                <p14:modId xmlns:p14="http://schemas.microsoft.com/office/powerpoint/2010/main" val="226828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66D3DD93-97C2-473D-86EB-FE17F27F4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404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1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303A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6" cstate="print">
            <a:alphaModFix/>
            <a:extLst>
              <a:ext uri="{28A0092B-C50C-407E-A947-70E740481C1C}">
                <a14:useLocalDpi xmlns:a14="http://schemas.microsoft.com/office/drawing/2010/main" val="0"/>
              </a:ext>
            </a:extLst>
          </a:blip>
          <a:srcRect r="-8" b="152"/>
          <a:stretch/>
        </p:blipFill>
        <p:spPr>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13" name="Title 12">
            <a:extLst>
              <a:ext uri="{FF2B5EF4-FFF2-40B4-BE49-F238E27FC236}">
                <a16:creationId xmlns:a16="http://schemas.microsoft.com/office/drawing/2014/main" id="{137D7A24-3E1B-475B-B9D5-BAF5AACBAFD1}"/>
              </a:ext>
            </a:extLst>
          </p:cNvPr>
          <p:cNvSpPr>
            <a:spLocks noGrp="1"/>
          </p:cNvSpPr>
          <p:nvPr>
            <p:ph type="title"/>
          </p:nvPr>
        </p:nvSpPr>
        <p:spPr>
          <a:xfrm>
            <a:off x="1136428" y="2689375"/>
            <a:ext cx="7078894" cy="1694368"/>
          </a:xfrm>
        </p:spPr>
        <p:txBody>
          <a:bodyPr vert="horz">
            <a:normAutofit fontScale="90000"/>
          </a:bodyPr>
          <a:lstStyle/>
          <a:p>
            <a:pPr algn="ctr"/>
            <a:r>
              <a:rPr lang="sv-SE" sz="4800" dirty="0"/>
              <a:t>Öjersjömodellen</a:t>
            </a:r>
            <a:br>
              <a:rPr lang="sv-SE" sz="4800" dirty="0"/>
            </a:br>
            <a:br>
              <a:rPr lang="sv-SE" sz="4800" dirty="0"/>
            </a:br>
            <a:r>
              <a:rPr lang="sv-SE" sz="2000" b="1" dirty="0"/>
              <a:t>Vision </a:t>
            </a:r>
            <a:br>
              <a:rPr lang="sv-SE" sz="2000" dirty="0"/>
            </a:br>
            <a:r>
              <a:rPr lang="sv-SE" sz="2000" dirty="0"/>
              <a:t>Öjersjö IF ska vara den självklara föreningen för alla i Öjersjö med omnejd som vill spela fotboll.</a:t>
            </a:r>
            <a:br>
              <a:rPr lang="sv-SE" sz="2000" dirty="0"/>
            </a:br>
            <a:br>
              <a:rPr lang="sv-SE" sz="2000" dirty="0"/>
            </a:br>
            <a:br>
              <a:rPr lang="sv-SE" sz="2000" dirty="0"/>
            </a:br>
            <a:br>
              <a:rPr lang="sv-SE" sz="2000" dirty="0"/>
            </a:br>
            <a:r>
              <a:rPr lang="sv-SE" sz="2000" b="1" dirty="0"/>
              <a:t> Verksamhetsidé </a:t>
            </a:r>
            <a:br>
              <a:rPr lang="sv-SE" sz="2000" dirty="0"/>
            </a:br>
            <a:r>
              <a:rPr lang="sv-SE" sz="2000" dirty="0"/>
              <a:t>Öjersjö IF erbjuder fotboll för alla i Öjersjö med omnejd där alla kan växa och utvecklas, både på och utanför planen, oavsett ambitionsnivå. Vi vänder oss till killar och tjejer från fem års ålder och uppåt. Vi vill få barn och ungdomar att finna glädje, gemenskap och god hälsa genom idrott. Vi vill bidra till att våra medlemmar blir goda samhällsmedborgare samt skapa en trygg närmiljö genom att erbjuda en samlingsplats i Öjersjö. </a:t>
            </a:r>
            <a:endParaRPr lang="sv-SE" sz="4800" dirty="0"/>
          </a:p>
        </p:txBody>
      </p:sp>
    </p:spTree>
    <p:extLst>
      <p:ext uri="{BB962C8B-B14F-4D97-AF65-F5344CB8AC3E}">
        <p14:creationId xmlns:p14="http://schemas.microsoft.com/office/powerpoint/2010/main" val="4095143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D3DD93-97C2-473D-86EB-FE17F27F4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66D3DD93-97C2-473D-86EB-FE17F27F45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404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1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303A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6" cstate="print">
            <a:alphaModFix/>
            <a:extLst>
              <a:ext uri="{28A0092B-C50C-407E-A947-70E740481C1C}">
                <a14:useLocalDpi xmlns:a14="http://schemas.microsoft.com/office/drawing/2010/main" val="0"/>
              </a:ext>
            </a:extLst>
          </a:blip>
          <a:srcRect r="-8" b="152"/>
          <a:stretch/>
        </p:blipFill>
        <p:spPr>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pic>
        <p:nvPicPr>
          <p:cNvPr id="3" name="Picture 2">
            <a:extLst>
              <a:ext uri="{FF2B5EF4-FFF2-40B4-BE49-F238E27FC236}">
                <a16:creationId xmlns:a16="http://schemas.microsoft.com/office/drawing/2014/main" id="{AB004871-EC82-4A2D-98A6-2A5F5E601CFB}"/>
              </a:ext>
            </a:extLst>
          </p:cNvPr>
          <p:cNvPicPr>
            <a:picLocks noChangeAspect="1"/>
          </p:cNvPicPr>
          <p:nvPr/>
        </p:nvPicPr>
        <p:blipFill>
          <a:blip r:embed="rId7"/>
          <a:stretch>
            <a:fillRect/>
          </a:stretch>
        </p:blipFill>
        <p:spPr>
          <a:xfrm>
            <a:off x="453877" y="308319"/>
            <a:ext cx="4688390" cy="6087344"/>
          </a:xfrm>
          <a:prstGeom prst="rect">
            <a:avLst/>
          </a:prstGeom>
        </p:spPr>
      </p:pic>
      <p:sp>
        <p:nvSpPr>
          <p:cNvPr id="8" name="Arrow: Chevron 7">
            <a:extLst>
              <a:ext uri="{FF2B5EF4-FFF2-40B4-BE49-F238E27FC236}">
                <a16:creationId xmlns:a16="http://schemas.microsoft.com/office/drawing/2014/main" id="{7A46304A-DFEB-4B8E-A906-5DF6339DEE74}"/>
              </a:ext>
            </a:extLst>
          </p:cNvPr>
          <p:cNvSpPr/>
          <p:nvPr/>
        </p:nvSpPr>
        <p:spPr>
          <a:xfrm>
            <a:off x="5486598" y="2474254"/>
            <a:ext cx="636997" cy="187453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9" name="TextBox 8">
            <a:extLst>
              <a:ext uri="{FF2B5EF4-FFF2-40B4-BE49-F238E27FC236}">
                <a16:creationId xmlns:a16="http://schemas.microsoft.com/office/drawing/2014/main" id="{9222613F-024C-4B48-989D-7284F372C8F1}"/>
              </a:ext>
            </a:extLst>
          </p:cNvPr>
          <p:cNvSpPr txBox="1"/>
          <p:nvPr/>
        </p:nvSpPr>
        <p:spPr>
          <a:xfrm>
            <a:off x="6308332" y="2640920"/>
            <a:ext cx="2607068" cy="1200329"/>
          </a:xfrm>
          <a:prstGeom prst="rect">
            <a:avLst/>
          </a:prstGeom>
          <a:noFill/>
        </p:spPr>
        <p:txBody>
          <a:bodyPr wrap="square" rtlCol="0">
            <a:spAutoFit/>
          </a:bodyPr>
          <a:lstStyle/>
          <a:p>
            <a:r>
              <a:rPr lang="sv-SE" dirty="0">
                <a:latin typeface="+mj-lt"/>
              </a:rPr>
              <a:t>Dagens spelarutvecklingsplan behöver utvecklas och nyanseras</a:t>
            </a:r>
          </a:p>
        </p:txBody>
      </p:sp>
    </p:spTree>
    <p:extLst>
      <p:ext uri="{BB962C8B-B14F-4D97-AF65-F5344CB8AC3E}">
        <p14:creationId xmlns:p14="http://schemas.microsoft.com/office/powerpoint/2010/main" val="1525480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D3DD93-97C2-473D-86EB-FE17F27F4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66D3DD93-97C2-473D-86EB-FE17F27F45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404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1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303A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5" cstate="print">
            <a:alphaModFix/>
            <a:extLst>
              <a:ext uri="{28A0092B-C50C-407E-A947-70E740481C1C}">
                <a14:useLocalDpi xmlns:a14="http://schemas.microsoft.com/office/drawing/2010/main" val="0"/>
              </a:ext>
            </a:extLst>
          </a:blip>
          <a:srcRect r="-8" b="152"/>
          <a:stretch/>
        </p:blipFill>
        <p:spPr>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8" name="TextBox 7">
            <a:extLst>
              <a:ext uri="{FF2B5EF4-FFF2-40B4-BE49-F238E27FC236}">
                <a16:creationId xmlns:a16="http://schemas.microsoft.com/office/drawing/2014/main" id="{5BE54855-C9F2-48E1-85A6-AE4111900CAB}"/>
              </a:ext>
            </a:extLst>
          </p:cNvPr>
          <p:cNvSpPr txBox="1"/>
          <p:nvPr/>
        </p:nvSpPr>
        <p:spPr>
          <a:xfrm>
            <a:off x="694961" y="2053058"/>
            <a:ext cx="7633699" cy="4708981"/>
          </a:xfrm>
          <a:prstGeom prst="rect">
            <a:avLst/>
          </a:prstGeom>
          <a:noFill/>
        </p:spPr>
        <p:txBody>
          <a:bodyPr wrap="square" rtlCol="0">
            <a:spAutoFit/>
          </a:bodyPr>
          <a:lstStyle/>
          <a:p>
            <a:pPr marL="342900" indent="-342900">
              <a:buFont typeface="Arial" panose="020B0604020202020204" pitchFamily="34" charset="0"/>
              <a:buChar char="•"/>
            </a:pPr>
            <a:r>
              <a:rPr lang="sv-SE" sz="2000" dirty="0">
                <a:latin typeface="+mj-lt"/>
              </a:rPr>
              <a:t>Röd tråd genom föreningen när vi nu har lag i alla åldersgrupper. Samarbete kan inte börja för sent.</a:t>
            </a:r>
          </a:p>
          <a:p>
            <a:pPr marL="342900" indent="-342900">
              <a:buFont typeface="Arial" panose="020B0604020202020204" pitchFamily="34" charset="0"/>
              <a:buChar char="•"/>
            </a:pPr>
            <a:endParaRPr lang="sv-SE" sz="2400" dirty="0"/>
          </a:p>
          <a:p>
            <a:pPr marL="285750" indent="-285750">
              <a:buFont typeface="Arial" panose="020B0604020202020204" pitchFamily="34" charset="0"/>
              <a:buChar char="•"/>
            </a:pPr>
            <a:r>
              <a:rPr lang="sv-SE" sz="2000" dirty="0">
                <a:latin typeface="+mj-lt"/>
              </a:rPr>
              <a:t>Vi ser att barn/ungdomar söker mer utmaning lägre ner i åldrarna</a:t>
            </a:r>
          </a:p>
          <a:p>
            <a:pPr marL="285750" indent="-285750">
              <a:buFont typeface="Arial" panose="020B0604020202020204" pitchFamily="34" charset="0"/>
              <a:buChar char="•"/>
            </a:pPr>
            <a:endParaRPr lang="sv-SE" sz="2000" dirty="0">
              <a:latin typeface="+mj-lt"/>
            </a:endParaRPr>
          </a:p>
          <a:p>
            <a:pPr marL="285750" indent="-285750">
              <a:buFont typeface="Arial" panose="020B0604020202020204" pitchFamily="34" charset="0"/>
              <a:buChar char="•"/>
            </a:pPr>
            <a:r>
              <a:rPr lang="sv-SE" sz="2000" dirty="0">
                <a:latin typeface="+mj-lt"/>
              </a:rPr>
              <a:t>Vi är en förening för ALLA</a:t>
            </a:r>
          </a:p>
          <a:p>
            <a:pPr marL="285750" indent="-285750">
              <a:buFont typeface="Arial" panose="020B0604020202020204" pitchFamily="34" charset="0"/>
              <a:buChar char="•"/>
            </a:pPr>
            <a:endParaRPr lang="sv-SE" sz="2000" dirty="0">
              <a:latin typeface="+mj-lt"/>
            </a:endParaRPr>
          </a:p>
          <a:p>
            <a:pPr marL="285750" indent="-285750">
              <a:buFont typeface="Arial" panose="020B0604020202020204" pitchFamily="34" charset="0"/>
              <a:buChar char="•"/>
            </a:pPr>
            <a:r>
              <a:rPr lang="sv-SE" sz="2000" dirty="0">
                <a:latin typeface="+mj-lt"/>
              </a:rPr>
              <a:t>Använda den styrka och möjlighet vi har så att det blir som bra som möjligt för så många som möjligt. </a:t>
            </a:r>
          </a:p>
          <a:p>
            <a:pPr marL="285750" indent="-285750">
              <a:buFont typeface="Arial" panose="020B0604020202020204" pitchFamily="34" charset="0"/>
              <a:buChar char="•"/>
            </a:pPr>
            <a:endParaRPr lang="sv-SE" sz="2000" dirty="0">
              <a:latin typeface="+mj-lt"/>
            </a:endParaRPr>
          </a:p>
          <a:p>
            <a:pPr marL="285750" indent="-285750">
              <a:buFont typeface="Arial" panose="020B0604020202020204" pitchFamily="34" charset="0"/>
              <a:buChar char="•"/>
            </a:pPr>
            <a:r>
              <a:rPr lang="sv-SE" sz="2000" dirty="0">
                <a:latin typeface="+mj-lt"/>
              </a:rPr>
              <a:t>Svårigheter att få ihop lag till matcher och träningar för äldre lag (skador, intresse, övriga idrotter </a:t>
            </a:r>
            <a:r>
              <a:rPr lang="sv-SE" sz="2000" dirty="0" err="1">
                <a:latin typeface="+mj-lt"/>
              </a:rPr>
              <a:t>etc</a:t>
            </a:r>
            <a:r>
              <a:rPr lang="sv-SE" sz="2000" dirty="0">
                <a:latin typeface="+mj-lt"/>
              </a:rPr>
              <a:t>)</a:t>
            </a:r>
          </a:p>
          <a:p>
            <a:pPr marL="285750" indent="-285750">
              <a:buFont typeface="Arial" panose="020B0604020202020204" pitchFamily="34" charset="0"/>
              <a:buChar char="•"/>
            </a:pPr>
            <a:endParaRPr lang="sv-SE" sz="2000" dirty="0">
              <a:latin typeface="+mj-lt"/>
            </a:endParaRPr>
          </a:p>
          <a:p>
            <a:endParaRPr lang="sv-SE" dirty="0"/>
          </a:p>
          <a:p>
            <a:endParaRPr lang="sv-SE" dirty="0"/>
          </a:p>
        </p:txBody>
      </p:sp>
      <p:sp>
        <p:nvSpPr>
          <p:cNvPr id="2" name="TextBox 1">
            <a:extLst>
              <a:ext uri="{FF2B5EF4-FFF2-40B4-BE49-F238E27FC236}">
                <a16:creationId xmlns:a16="http://schemas.microsoft.com/office/drawing/2014/main" id="{066648C1-869C-4C1A-B802-5AD2F07D3F1B}"/>
              </a:ext>
            </a:extLst>
          </p:cNvPr>
          <p:cNvSpPr txBox="1"/>
          <p:nvPr/>
        </p:nvSpPr>
        <p:spPr>
          <a:xfrm>
            <a:off x="2660012" y="917847"/>
            <a:ext cx="7325474" cy="523220"/>
          </a:xfrm>
          <a:prstGeom prst="rect">
            <a:avLst/>
          </a:prstGeom>
          <a:noFill/>
        </p:spPr>
        <p:txBody>
          <a:bodyPr wrap="square" rtlCol="0">
            <a:spAutoFit/>
          </a:bodyPr>
          <a:lstStyle/>
          <a:p>
            <a:r>
              <a:rPr lang="sv-SE" sz="2800" dirty="0">
                <a:latin typeface="+mj-lt"/>
                <a:cs typeface="Volvo Novum" panose="020B0503040502060204" pitchFamily="34" charset="0"/>
              </a:rPr>
              <a:t>Varför behöver vi detta?</a:t>
            </a:r>
          </a:p>
        </p:txBody>
      </p:sp>
    </p:spTree>
    <p:extLst>
      <p:ext uri="{BB962C8B-B14F-4D97-AF65-F5344CB8AC3E}">
        <p14:creationId xmlns:p14="http://schemas.microsoft.com/office/powerpoint/2010/main" val="3066742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7EBA9B9-FD41-44DB-B29A-337D5658DD18}"/>
              </a:ext>
            </a:extLst>
          </p:cNvPr>
          <p:cNvSpPr/>
          <p:nvPr/>
        </p:nvSpPr>
        <p:spPr>
          <a:xfrm>
            <a:off x="6947796" y="4324371"/>
            <a:ext cx="4826378" cy="22944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ctangle 15">
            <a:extLst>
              <a:ext uri="{FF2B5EF4-FFF2-40B4-BE49-F238E27FC236}">
                <a16:creationId xmlns:a16="http://schemas.microsoft.com/office/drawing/2014/main" id="{45EA3A8F-C675-4C68-A420-44CBE4218388}"/>
              </a:ext>
            </a:extLst>
          </p:cNvPr>
          <p:cNvSpPr/>
          <p:nvPr/>
        </p:nvSpPr>
        <p:spPr>
          <a:xfrm>
            <a:off x="6947796" y="307017"/>
            <a:ext cx="4826383" cy="339424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a:extLst>
              <a:ext uri="{FF2B5EF4-FFF2-40B4-BE49-F238E27FC236}">
                <a16:creationId xmlns:a16="http://schemas.microsoft.com/office/drawing/2014/main" id="{378A665F-6621-487F-B5B2-F00D870FE797}"/>
              </a:ext>
            </a:extLst>
          </p:cNvPr>
          <p:cNvSpPr/>
          <p:nvPr/>
        </p:nvSpPr>
        <p:spPr>
          <a:xfrm>
            <a:off x="7497350" y="472060"/>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TextBox 3">
            <a:extLst>
              <a:ext uri="{FF2B5EF4-FFF2-40B4-BE49-F238E27FC236}">
                <a16:creationId xmlns:a16="http://schemas.microsoft.com/office/drawing/2014/main" id="{3F138AE7-2209-45BC-9F3F-08CBDA51B6E1}"/>
              </a:ext>
            </a:extLst>
          </p:cNvPr>
          <p:cNvSpPr txBox="1"/>
          <p:nvPr/>
        </p:nvSpPr>
        <p:spPr>
          <a:xfrm>
            <a:off x="8933331" y="545406"/>
            <a:ext cx="782587" cy="369332"/>
          </a:xfrm>
          <a:prstGeom prst="rect">
            <a:avLst/>
          </a:prstGeom>
          <a:noFill/>
        </p:spPr>
        <p:txBody>
          <a:bodyPr wrap="square" rtlCol="0">
            <a:spAutoFit/>
          </a:bodyPr>
          <a:lstStyle/>
          <a:p>
            <a:r>
              <a:rPr lang="sv-SE" dirty="0"/>
              <a:t>Senior</a:t>
            </a:r>
          </a:p>
        </p:txBody>
      </p:sp>
      <p:sp>
        <p:nvSpPr>
          <p:cNvPr id="6" name="Rectangle 5">
            <a:extLst>
              <a:ext uri="{FF2B5EF4-FFF2-40B4-BE49-F238E27FC236}">
                <a16:creationId xmlns:a16="http://schemas.microsoft.com/office/drawing/2014/main" id="{6DE6A622-3F48-40C6-8605-B5921E99D285}"/>
              </a:ext>
            </a:extLst>
          </p:cNvPr>
          <p:cNvSpPr/>
          <p:nvPr/>
        </p:nvSpPr>
        <p:spPr>
          <a:xfrm>
            <a:off x="7522295" y="1465226"/>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TextBox 6">
            <a:extLst>
              <a:ext uri="{FF2B5EF4-FFF2-40B4-BE49-F238E27FC236}">
                <a16:creationId xmlns:a16="http://schemas.microsoft.com/office/drawing/2014/main" id="{C02D0748-7C86-4166-ABEF-0E25708F48A0}"/>
              </a:ext>
            </a:extLst>
          </p:cNvPr>
          <p:cNvSpPr txBox="1"/>
          <p:nvPr/>
        </p:nvSpPr>
        <p:spPr>
          <a:xfrm>
            <a:off x="8112958" y="1549632"/>
            <a:ext cx="1029449" cy="369332"/>
          </a:xfrm>
          <a:prstGeom prst="rect">
            <a:avLst/>
          </a:prstGeom>
          <a:noFill/>
        </p:spPr>
        <p:txBody>
          <a:bodyPr wrap="square" rtlCol="0">
            <a:spAutoFit/>
          </a:bodyPr>
          <a:lstStyle/>
          <a:p>
            <a:r>
              <a:rPr lang="sv-SE" dirty="0"/>
              <a:t>Juniorlag</a:t>
            </a:r>
          </a:p>
        </p:txBody>
      </p:sp>
      <p:sp>
        <p:nvSpPr>
          <p:cNvPr id="8" name="Rectangle 7">
            <a:extLst>
              <a:ext uri="{FF2B5EF4-FFF2-40B4-BE49-F238E27FC236}">
                <a16:creationId xmlns:a16="http://schemas.microsoft.com/office/drawing/2014/main" id="{498C277F-8A5E-43FD-A141-7C18D5465B0E}"/>
              </a:ext>
            </a:extLst>
          </p:cNvPr>
          <p:cNvSpPr/>
          <p:nvPr/>
        </p:nvSpPr>
        <p:spPr>
          <a:xfrm>
            <a:off x="7580287" y="2569668"/>
            <a:ext cx="3727269" cy="923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TextBox 8">
            <a:extLst>
              <a:ext uri="{FF2B5EF4-FFF2-40B4-BE49-F238E27FC236}">
                <a16:creationId xmlns:a16="http://schemas.microsoft.com/office/drawing/2014/main" id="{02816CCF-BE6D-40D9-B16A-D713756B504F}"/>
              </a:ext>
            </a:extLst>
          </p:cNvPr>
          <p:cNvSpPr txBox="1"/>
          <p:nvPr/>
        </p:nvSpPr>
        <p:spPr>
          <a:xfrm>
            <a:off x="7633308" y="2671983"/>
            <a:ext cx="1649811" cy="369332"/>
          </a:xfrm>
          <a:prstGeom prst="rect">
            <a:avLst/>
          </a:prstGeom>
          <a:noFill/>
        </p:spPr>
        <p:txBody>
          <a:bodyPr wrap="square" rtlCol="0">
            <a:spAutoFit/>
          </a:bodyPr>
          <a:lstStyle/>
          <a:p>
            <a:r>
              <a:rPr lang="sv-SE" dirty="0"/>
              <a:t>A- pojk/ 1 (P06)</a:t>
            </a:r>
          </a:p>
        </p:txBody>
      </p:sp>
      <p:sp>
        <p:nvSpPr>
          <p:cNvPr id="12" name="Rectangle 11">
            <a:extLst>
              <a:ext uri="{FF2B5EF4-FFF2-40B4-BE49-F238E27FC236}">
                <a16:creationId xmlns:a16="http://schemas.microsoft.com/office/drawing/2014/main" id="{F1B80922-13D0-46DA-9F5B-41C44488C09D}"/>
              </a:ext>
            </a:extLst>
          </p:cNvPr>
          <p:cNvSpPr/>
          <p:nvPr/>
        </p:nvSpPr>
        <p:spPr>
          <a:xfrm>
            <a:off x="7674595" y="4590491"/>
            <a:ext cx="3727269" cy="639305"/>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TextBox 12">
            <a:extLst>
              <a:ext uri="{FF2B5EF4-FFF2-40B4-BE49-F238E27FC236}">
                <a16:creationId xmlns:a16="http://schemas.microsoft.com/office/drawing/2014/main" id="{A7F2956C-3494-4E2E-BB53-A7A527B26A46}"/>
              </a:ext>
            </a:extLst>
          </p:cNvPr>
          <p:cNvSpPr txBox="1"/>
          <p:nvPr/>
        </p:nvSpPr>
        <p:spPr>
          <a:xfrm>
            <a:off x="8564213" y="4725477"/>
            <a:ext cx="2209516" cy="369332"/>
          </a:xfrm>
          <a:prstGeom prst="rect">
            <a:avLst/>
          </a:prstGeom>
          <a:noFill/>
        </p:spPr>
        <p:txBody>
          <a:bodyPr wrap="none" rtlCol="0">
            <a:spAutoFit/>
          </a:bodyPr>
          <a:lstStyle/>
          <a:p>
            <a:r>
              <a:rPr lang="sv-SE" dirty="0"/>
              <a:t>B-pojk/flickor gul (08)</a:t>
            </a:r>
          </a:p>
        </p:txBody>
      </p:sp>
      <p:sp>
        <p:nvSpPr>
          <p:cNvPr id="14" name="Rectangle 13">
            <a:extLst>
              <a:ext uri="{FF2B5EF4-FFF2-40B4-BE49-F238E27FC236}">
                <a16:creationId xmlns:a16="http://schemas.microsoft.com/office/drawing/2014/main" id="{ECA357C9-0127-4E70-B47A-CB70AB2DDA3B}"/>
              </a:ext>
            </a:extLst>
          </p:cNvPr>
          <p:cNvSpPr/>
          <p:nvPr/>
        </p:nvSpPr>
        <p:spPr>
          <a:xfrm>
            <a:off x="7633308" y="5795851"/>
            <a:ext cx="3727269" cy="63930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Box 14">
            <a:extLst>
              <a:ext uri="{FF2B5EF4-FFF2-40B4-BE49-F238E27FC236}">
                <a16:creationId xmlns:a16="http://schemas.microsoft.com/office/drawing/2014/main" id="{63899738-76D2-466B-A1B6-C57117DC3A4B}"/>
              </a:ext>
            </a:extLst>
          </p:cNvPr>
          <p:cNvSpPr txBox="1"/>
          <p:nvPr/>
        </p:nvSpPr>
        <p:spPr>
          <a:xfrm>
            <a:off x="8564213" y="5930837"/>
            <a:ext cx="2354875" cy="369332"/>
          </a:xfrm>
          <a:prstGeom prst="rect">
            <a:avLst/>
          </a:prstGeom>
          <a:noFill/>
        </p:spPr>
        <p:txBody>
          <a:bodyPr wrap="none" rtlCol="0">
            <a:spAutoFit/>
          </a:bodyPr>
          <a:lstStyle/>
          <a:p>
            <a:r>
              <a:rPr lang="sv-SE" dirty="0"/>
              <a:t>B-pojk/flickor grön (09)</a:t>
            </a:r>
          </a:p>
        </p:txBody>
      </p:sp>
      <p:sp>
        <p:nvSpPr>
          <p:cNvPr id="17" name="TextBox 16">
            <a:extLst>
              <a:ext uri="{FF2B5EF4-FFF2-40B4-BE49-F238E27FC236}">
                <a16:creationId xmlns:a16="http://schemas.microsoft.com/office/drawing/2014/main" id="{53E542C5-6E91-4F5E-84EA-527D64E37C46}"/>
              </a:ext>
            </a:extLst>
          </p:cNvPr>
          <p:cNvSpPr txBox="1"/>
          <p:nvPr/>
        </p:nvSpPr>
        <p:spPr>
          <a:xfrm rot="16200000">
            <a:off x="6838761" y="2026923"/>
            <a:ext cx="845681" cy="369332"/>
          </a:xfrm>
          <a:prstGeom prst="rect">
            <a:avLst/>
          </a:prstGeom>
          <a:noFill/>
        </p:spPr>
        <p:txBody>
          <a:bodyPr wrap="square" rtlCol="0">
            <a:spAutoFit/>
          </a:bodyPr>
          <a:lstStyle/>
          <a:p>
            <a:r>
              <a:rPr lang="sv-SE" dirty="0"/>
              <a:t>11vs11</a:t>
            </a:r>
          </a:p>
        </p:txBody>
      </p:sp>
      <p:sp>
        <p:nvSpPr>
          <p:cNvPr id="19" name="TextBox 18">
            <a:extLst>
              <a:ext uri="{FF2B5EF4-FFF2-40B4-BE49-F238E27FC236}">
                <a16:creationId xmlns:a16="http://schemas.microsoft.com/office/drawing/2014/main" id="{14510C6E-CE87-4219-B9CE-C929E9254114}"/>
              </a:ext>
            </a:extLst>
          </p:cNvPr>
          <p:cNvSpPr txBox="1"/>
          <p:nvPr/>
        </p:nvSpPr>
        <p:spPr>
          <a:xfrm rot="16200000">
            <a:off x="7092282" y="5120729"/>
            <a:ext cx="712719" cy="369332"/>
          </a:xfrm>
          <a:prstGeom prst="rect">
            <a:avLst/>
          </a:prstGeom>
          <a:noFill/>
        </p:spPr>
        <p:txBody>
          <a:bodyPr wrap="square" rtlCol="0">
            <a:spAutoFit/>
          </a:bodyPr>
          <a:lstStyle/>
          <a:p>
            <a:r>
              <a:rPr lang="sv-SE" dirty="0"/>
              <a:t>9vs9</a:t>
            </a:r>
          </a:p>
        </p:txBody>
      </p:sp>
      <p:sp>
        <p:nvSpPr>
          <p:cNvPr id="42" name="Rectangle 41">
            <a:extLst>
              <a:ext uri="{FF2B5EF4-FFF2-40B4-BE49-F238E27FC236}">
                <a16:creationId xmlns:a16="http://schemas.microsoft.com/office/drawing/2014/main" id="{C5ADFD24-E973-4794-8421-251607E052B7}"/>
              </a:ext>
            </a:extLst>
          </p:cNvPr>
          <p:cNvSpPr/>
          <p:nvPr/>
        </p:nvSpPr>
        <p:spPr>
          <a:xfrm>
            <a:off x="783624" y="545406"/>
            <a:ext cx="4485847" cy="231249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3" name="Rectangle 42">
            <a:extLst>
              <a:ext uri="{FF2B5EF4-FFF2-40B4-BE49-F238E27FC236}">
                <a16:creationId xmlns:a16="http://schemas.microsoft.com/office/drawing/2014/main" id="{E9BF10A2-CEBD-439F-8A79-05384D486E5E}"/>
              </a:ext>
            </a:extLst>
          </p:cNvPr>
          <p:cNvSpPr/>
          <p:nvPr/>
        </p:nvSpPr>
        <p:spPr>
          <a:xfrm>
            <a:off x="1228695" y="792080"/>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4" name="TextBox 43">
            <a:extLst>
              <a:ext uri="{FF2B5EF4-FFF2-40B4-BE49-F238E27FC236}">
                <a16:creationId xmlns:a16="http://schemas.microsoft.com/office/drawing/2014/main" id="{BB7F3E91-9089-42C8-8747-D87BBB2E8EFF}"/>
              </a:ext>
            </a:extLst>
          </p:cNvPr>
          <p:cNvSpPr txBox="1"/>
          <p:nvPr/>
        </p:nvSpPr>
        <p:spPr>
          <a:xfrm>
            <a:off x="2630959" y="898416"/>
            <a:ext cx="643125" cy="369332"/>
          </a:xfrm>
          <a:prstGeom prst="rect">
            <a:avLst/>
          </a:prstGeom>
          <a:noFill/>
        </p:spPr>
        <p:txBody>
          <a:bodyPr wrap="none" rtlCol="0">
            <a:spAutoFit/>
          </a:bodyPr>
          <a:lstStyle/>
          <a:p>
            <a:r>
              <a:rPr lang="sv-SE" dirty="0"/>
              <a:t>PF10</a:t>
            </a:r>
          </a:p>
        </p:txBody>
      </p:sp>
      <p:sp>
        <p:nvSpPr>
          <p:cNvPr id="45" name="Rectangle 44">
            <a:extLst>
              <a:ext uri="{FF2B5EF4-FFF2-40B4-BE49-F238E27FC236}">
                <a16:creationId xmlns:a16="http://schemas.microsoft.com/office/drawing/2014/main" id="{59168B01-BDC0-4DBD-8CE4-2EBB8E52592E}"/>
              </a:ext>
            </a:extLst>
          </p:cNvPr>
          <p:cNvSpPr/>
          <p:nvPr/>
        </p:nvSpPr>
        <p:spPr>
          <a:xfrm>
            <a:off x="1212763" y="1507107"/>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TextBox 45">
            <a:extLst>
              <a:ext uri="{FF2B5EF4-FFF2-40B4-BE49-F238E27FC236}">
                <a16:creationId xmlns:a16="http://schemas.microsoft.com/office/drawing/2014/main" id="{9A3F9F5F-2395-4C20-9B56-147137005478}"/>
              </a:ext>
            </a:extLst>
          </p:cNvPr>
          <p:cNvSpPr txBox="1"/>
          <p:nvPr/>
        </p:nvSpPr>
        <p:spPr>
          <a:xfrm>
            <a:off x="2662858" y="1598500"/>
            <a:ext cx="643125" cy="369332"/>
          </a:xfrm>
          <a:prstGeom prst="rect">
            <a:avLst/>
          </a:prstGeom>
          <a:noFill/>
        </p:spPr>
        <p:txBody>
          <a:bodyPr wrap="none" rtlCol="0">
            <a:spAutoFit/>
          </a:bodyPr>
          <a:lstStyle/>
          <a:p>
            <a:r>
              <a:rPr lang="sv-SE" dirty="0"/>
              <a:t>PF11</a:t>
            </a:r>
          </a:p>
        </p:txBody>
      </p:sp>
      <p:sp>
        <p:nvSpPr>
          <p:cNvPr id="47" name="TextBox 46">
            <a:extLst>
              <a:ext uri="{FF2B5EF4-FFF2-40B4-BE49-F238E27FC236}">
                <a16:creationId xmlns:a16="http://schemas.microsoft.com/office/drawing/2014/main" id="{6EE519F4-C248-4E41-8A8D-7C0A6FD1149C}"/>
              </a:ext>
            </a:extLst>
          </p:cNvPr>
          <p:cNvSpPr txBox="1"/>
          <p:nvPr/>
        </p:nvSpPr>
        <p:spPr>
          <a:xfrm rot="16200000">
            <a:off x="659552" y="1560683"/>
            <a:ext cx="717440" cy="369332"/>
          </a:xfrm>
          <a:prstGeom prst="rect">
            <a:avLst/>
          </a:prstGeom>
          <a:noFill/>
        </p:spPr>
        <p:txBody>
          <a:bodyPr wrap="none" rtlCol="0">
            <a:spAutoFit/>
          </a:bodyPr>
          <a:lstStyle/>
          <a:p>
            <a:r>
              <a:rPr lang="sv-SE" dirty="0"/>
              <a:t>7 vs 7</a:t>
            </a:r>
          </a:p>
        </p:txBody>
      </p:sp>
      <p:sp>
        <p:nvSpPr>
          <p:cNvPr id="48" name="Rectangle 47">
            <a:extLst>
              <a:ext uri="{FF2B5EF4-FFF2-40B4-BE49-F238E27FC236}">
                <a16:creationId xmlns:a16="http://schemas.microsoft.com/office/drawing/2014/main" id="{C9E0734A-9374-4CCA-A72C-6F625C4FB679}"/>
              </a:ext>
            </a:extLst>
          </p:cNvPr>
          <p:cNvSpPr/>
          <p:nvPr/>
        </p:nvSpPr>
        <p:spPr>
          <a:xfrm>
            <a:off x="801706" y="3175643"/>
            <a:ext cx="4485847" cy="15498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Rectangle 48">
            <a:extLst>
              <a:ext uri="{FF2B5EF4-FFF2-40B4-BE49-F238E27FC236}">
                <a16:creationId xmlns:a16="http://schemas.microsoft.com/office/drawing/2014/main" id="{8FF67165-FDEA-42DD-8321-AFA3930B1707}"/>
              </a:ext>
            </a:extLst>
          </p:cNvPr>
          <p:cNvSpPr/>
          <p:nvPr/>
        </p:nvSpPr>
        <p:spPr>
          <a:xfrm>
            <a:off x="1269929" y="3265327"/>
            <a:ext cx="3779993" cy="5747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 name="TextBox 49">
            <a:extLst>
              <a:ext uri="{FF2B5EF4-FFF2-40B4-BE49-F238E27FC236}">
                <a16:creationId xmlns:a16="http://schemas.microsoft.com/office/drawing/2014/main" id="{878238DC-4110-4EA4-ADC5-DF3AD279A14C}"/>
              </a:ext>
            </a:extLst>
          </p:cNvPr>
          <p:cNvSpPr txBox="1"/>
          <p:nvPr/>
        </p:nvSpPr>
        <p:spPr>
          <a:xfrm>
            <a:off x="2646433" y="3354980"/>
            <a:ext cx="652222" cy="369332"/>
          </a:xfrm>
          <a:prstGeom prst="rect">
            <a:avLst/>
          </a:prstGeom>
          <a:noFill/>
        </p:spPr>
        <p:txBody>
          <a:bodyPr wrap="square" rtlCol="0">
            <a:spAutoFit/>
          </a:bodyPr>
          <a:lstStyle/>
          <a:p>
            <a:r>
              <a:rPr lang="sv-SE" dirty="0"/>
              <a:t>PF13</a:t>
            </a:r>
          </a:p>
        </p:txBody>
      </p:sp>
      <p:sp>
        <p:nvSpPr>
          <p:cNvPr id="51" name="Rectangle 50">
            <a:extLst>
              <a:ext uri="{FF2B5EF4-FFF2-40B4-BE49-F238E27FC236}">
                <a16:creationId xmlns:a16="http://schemas.microsoft.com/office/drawing/2014/main" id="{ED09B222-92D4-4A01-8539-ABD74A7AFA86}"/>
              </a:ext>
            </a:extLst>
          </p:cNvPr>
          <p:cNvSpPr/>
          <p:nvPr/>
        </p:nvSpPr>
        <p:spPr>
          <a:xfrm>
            <a:off x="1269929" y="3992493"/>
            <a:ext cx="3779993" cy="5747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TextBox 51">
            <a:extLst>
              <a:ext uri="{FF2B5EF4-FFF2-40B4-BE49-F238E27FC236}">
                <a16:creationId xmlns:a16="http://schemas.microsoft.com/office/drawing/2014/main" id="{1370A1DB-4022-451A-9524-542BC65C5EC9}"/>
              </a:ext>
            </a:extLst>
          </p:cNvPr>
          <p:cNvSpPr txBox="1"/>
          <p:nvPr/>
        </p:nvSpPr>
        <p:spPr>
          <a:xfrm>
            <a:off x="2587122" y="4082146"/>
            <a:ext cx="652222" cy="369332"/>
          </a:xfrm>
          <a:prstGeom prst="rect">
            <a:avLst/>
          </a:prstGeom>
          <a:noFill/>
        </p:spPr>
        <p:txBody>
          <a:bodyPr wrap="square" rtlCol="0">
            <a:spAutoFit/>
          </a:bodyPr>
          <a:lstStyle/>
          <a:p>
            <a:r>
              <a:rPr lang="sv-SE" dirty="0"/>
              <a:t>PF14</a:t>
            </a:r>
          </a:p>
        </p:txBody>
      </p:sp>
      <p:sp>
        <p:nvSpPr>
          <p:cNvPr id="53" name="TextBox 52">
            <a:extLst>
              <a:ext uri="{FF2B5EF4-FFF2-40B4-BE49-F238E27FC236}">
                <a16:creationId xmlns:a16="http://schemas.microsoft.com/office/drawing/2014/main" id="{A6DF4B62-50AF-4E57-BBC9-B24828EB2F85}"/>
              </a:ext>
            </a:extLst>
          </p:cNvPr>
          <p:cNvSpPr txBox="1"/>
          <p:nvPr/>
        </p:nvSpPr>
        <p:spPr>
          <a:xfrm rot="16200000">
            <a:off x="722234" y="3657202"/>
            <a:ext cx="751604" cy="374556"/>
          </a:xfrm>
          <a:prstGeom prst="rect">
            <a:avLst/>
          </a:prstGeom>
          <a:noFill/>
        </p:spPr>
        <p:txBody>
          <a:bodyPr wrap="square" rtlCol="0">
            <a:spAutoFit/>
          </a:bodyPr>
          <a:lstStyle/>
          <a:p>
            <a:r>
              <a:rPr lang="sv-SE" dirty="0"/>
              <a:t>5 vs 5</a:t>
            </a:r>
          </a:p>
        </p:txBody>
      </p:sp>
      <p:sp>
        <p:nvSpPr>
          <p:cNvPr id="54" name="Rectangle 53">
            <a:extLst>
              <a:ext uri="{FF2B5EF4-FFF2-40B4-BE49-F238E27FC236}">
                <a16:creationId xmlns:a16="http://schemas.microsoft.com/office/drawing/2014/main" id="{0F76E903-4E2A-45B0-BC33-70A5AE67A7B8}"/>
              </a:ext>
            </a:extLst>
          </p:cNvPr>
          <p:cNvSpPr/>
          <p:nvPr/>
        </p:nvSpPr>
        <p:spPr>
          <a:xfrm>
            <a:off x="1228695" y="2208147"/>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5" name="TextBox 54">
            <a:extLst>
              <a:ext uri="{FF2B5EF4-FFF2-40B4-BE49-F238E27FC236}">
                <a16:creationId xmlns:a16="http://schemas.microsoft.com/office/drawing/2014/main" id="{24058057-2E15-45E7-A78E-8757C6D80AA1}"/>
              </a:ext>
            </a:extLst>
          </p:cNvPr>
          <p:cNvSpPr txBox="1"/>
          <p:nvPr/>
        </p:nvSpPr>
        <p:spPr>
          <a:xfrm>
            <a:off x="2630958" y="2361796"/>
            <a:ext cx="643125" cy="369332"/>
          </a:xfrm>
          <a:prstGeom prst="rect">
            <a:avLst/>
          </a:prstGeom>
          <a:noFill/>
        </p:spPr>
        <p:txBody>
          <a:bodyPr wrap="none" rtlCol="0">
            <a:spAutoFit/>
          </a:bodyPr>
          <a:lstStyle/>
          <a:p>
            <a:r>
              <a:rPr lang="sv-SE" dirty="0"/>
              <a:t>PF12</a:t>
            </a:r>
          </a:p>
        </p:txBody>
      </p:sp>
      <p:sp>
        <p:nvSpPr>
          <p:cNvPr id="62" name="Rectangle 61">
            <a:extLst>
              <a:ext uri="{FF2B5EF4-FFF2-40B4-BE49-F238E27FC236}">
                <a16:creationId xmlns:a16="http://schemas.microsoft.com/office/drawing/2014/main" id="{BFDDB998-5834-43D8-9868-48EA2D907868}"/>
              </a:ext>
            </a:extLst>
          </p:cNvPr>
          <p:cNvSpPr/>
          <p:nvPr/>
        </p:nvSpPr>
        <p:spPr>
          <a:xfrm>
            <a:off x="861231" y="4986115"/>
            <a:ext cx="4415879" cy="159657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3" name="Rectangle 62">
            <a:extLst>
              <a:ext uri="{FF2B5EF4-FFF2-40B4-BE49-F238E27FC236}">
                <a16:creationId xmlns:a16="http://schemas.microsoft.com/office/drawing/2014/main" id="{136B4B8B-EAC5-472A-9194-5D168FF107EA}"/>
              </a:ext>
            </a:extLst>
          </p:cNvPr>
          <p:cNvSpPr/>
          <p:nvPr/>
        </p:nvSpPr>
        <p:spPr>
          <a:xfrm>
            <a:off x="1327095" y="5122857"/>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4" name="TextBox 63">
            <a:extLst>
              <a:ext uri="{FF2B5EF4-FFF2-40B4-BE49-F238E27FC236}">
                <a16:creationId xmlns:a16="http://schemas.microsoft.com/office/drawing/2014/main" id="{5303EBD3-A8A6-413E-A04C-49F3F6A01E7C}"/>
              </a:ext>
            </a:extLst>
          </p:cNvPr>
          <p:cNvSpPr txBox="1"/>
          <p:nvPr/>
        </p:nvSpPr>
        <p:spPr>
          <a:xfrm>
            <a:off x="2703599" y="5212511"/>
            <a:ext cx="643125" cy="369332"/>
          </a:xfrm>
          <a:prstGeom prst="rect">
            <a:avLst/>
          </a:prstGeom>
          <a:noFill/>
        </p:spPr>
        <p:txBody>
          <a:bodyPr wrap="none" rtlCol="0">
            <a:spAutoFit/>
          </a:bodyPr>
          <a:lstStyle/>
          <a:p>
            <a:r>
              <a:rPr lang="sv-SE" dirty="0"/>
              <a:t>PF15</a:t>
            </a:r>
          </a:p>
        </p:txBody>
      </p:sp>
      <p:sp>
        <p:nvSpPr>
          <p:cNvPr id="65" name="Rectangle 64">
            <a:extLst>
              <a:ext uri="{FF2B5EF4-FFF2-40B4-BE49-F238E27FC236}">
                <a16:creationId xmlns:a16="http://schemas.microsoft.com/office/drawing/2014/main" id="{765319A5-9B44-4AF4-9FA0-7C2070B462EE}"/>
              </a:ext>
            </a:extLst>
          </p:cNvPr>
          <p:cNvSpPr/>
          <p:nvPr/>
        </p:nvSpPr>
        <p:spPr>
          <a:xfrm>
            <a:off x="1327095" y="5850023"/>
            <a:ext cx="3727269" cy="5486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6" name="TextBox 65">
            <a:extLst>
              <a:ext uri="{FF2B5EF4-FFF2-40B4-BE49-F238E27FC236}">
                <a16:creationId xmlns:a16="http://schemas.microsoft.com/office/drawing/2014/main" id="{36DEDFFB-7BF6-42A7-8BE2-76DE24B7578D}"/>
              </a:ext>
            </a:extLst>
          </p:cNvPr>
          <p:cNvSpPr txBox="1"/>
          <p:nvPr/>
        </p:nvSpPr>
        <p:spPr>
          <a:xfrm>
            <a:off x="2644288" y="5939677"/>
            <a:ext cx="643125" cy="369332"/>
          </a:xfrm>
          <a:prstGeom prst="rect">
            <a:avLst/>
          </a:prstGeom>
          <a:noFill/>
        </p:spPr>
        <p:txBody>
          <a:bodyPr wrap="none" rtlCol="0">
            <a:spAutoFit/>
          </a:bodyPr>
          <a:lstStyle/>
          <a:p>
            <a:r>
              <a:rPr lang="sv-SE" dirty="0"/>
              <a:t>PF16</a:t>
            </a:r>
          </a:p>
        </p:txBody>
      </p:sp>
      <p:sp>
        <p:nvSpPr>
          <p:cNvPr id="67" name="TextBox 66">
            <a:extLst>
              <a:ext uri="{FF2B5EF4-FFF2-40B4-BE49-F238E27FC236}">
                <a16:creationId xmlns:a16="http://schemas.microsoft.com/office/drawing/2014/main" id="{93784F1E-99DE-4E4B-B06A-8F8F51853D4A}"/>
              </a:ext>
            </a:extLst>
          </p:cNvPr>
          <p:cNvSpPr txBox="1"/>
          <p:nvPr/>
        </p:nvSpPr>
        <p:spPr>
          <a:xfrm rot="16200000">
            <a:off x="741929" y="5486831"/>
            <a:ext cx="717440" cy="369332"/>
          </a:xfrm>
          <a:prstGeom prst="rect">
            <a:avLst/>
          </a:prstGeom>
          <a:noFill/>
        </p:spPr>
        <p:txBody>
          <a:bodyPr wrap="none" rtlCol="0">
            <a:spAutoFit/>
          </a:bodyPr>
          <a:lstStyle/>
          <a:p>
            <a:r>
              <a:rPr lang="sv-SE" dirty="0"/>
              <a:t>3 vs 3</a:t>
            </a:r>
          </a:p>
        </p:txBody>
      </p:sp>
      <p:sp>
        <p:nvSpPr>
          <p:cNvPr id="38" name="Arrow: Up-Down 37">
            <a:extLst>
              <a:ext uri="{FF2B5EF4-FFF2-40B4-BE49-F238E27FC236}">
                <a16:creationId xmlns:a16="http://schemas.microsoft.com/office/drawing/2014/main" id="{E749D6B6-F25F-444C-BACA-B0814DF7D815}"/>
              </a:ext>
            </a:extLst>
          </p:cNvPr>
          <p:cNvSpPr/>
          <p:nvPr/>
        </p:nvSpPr>
        <p:spPr>
          <a:xfrm>
            <a:off x="9398526" y="3712117"/>
            <a:ext cx="356737" cy="49024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8" name="Arrow: Up-Down 67">
            <a:extLst>
              <a:ext uri="{FF2B5EF4-FFF2-40B4-BE49-F238E27FC236}">
                <a16:creationId xmlns:a16="http://schemas.microsoft.com/office/drawing/2014/main" id="{B12D263E-8EB2-48ED-94C9-BEBC98322646}"/>
              </a:ext>
            </a:extLst>
          </p:cNvPr>
          <p:cNvSpPr/>
          <p:nvPr/>
        </p:nvSpPr>
        <p:spPr>
          <a:xfrm>
            <a:off x="9385930" y="5251504"/>
            <a:ext cx="369333" cy="54693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70" name="Straight Connector 69">
            <a:extLst>
              <a:ext uri="{FF2B5EF4-FFF2-40B4-BE49-F238E27FC236}">
                <a16:creationId xmlns:a16="http://schemas.microsoft.com/office/drawing/2014/main" id="{2A2E5095-BBAE-4881-B98F-E231E6C05EBB}"/>
              </a:ext>
            </a:extLst>
          </p:cNvPr>
          <p:cNvCxnSpPr>
            <a:cxnSpLocks/>
          </p:cNvCxnSpPr>
          <p:nvPr/>
        </p:nvCxnSpPr>
        <p:spPr>
          <a:xfrm>
            <a:off x="5971084" y="607629"/>
            <a:ext cx="78769" cy="5869397"/>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CA71768-0109-4D92-BCB1-89F512ADCBBC}"/>
              </a:ext>
            </a:extLst>
          </p:cNvPr>
          <p:cNvCxnSpPr>
            <a:cxnSpLocks/>
          </p:cNvCxnSpPr>
          <p:nvPr/>
        </p:nvCxnSpPr>
        <p:spPr>
          <a:xfrm>
            <a:off x="9898348" y="1479289"/>
            <a:ext cx="0" cy="432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8DF2BF6-F346-445E-ABA3-444398EE35A8}"/>
              </a:ext>
            </a:extLst>
          </p:cNvPr>
          <p:cNvCxnSpPr>
            <a:cxnSpLocks/>
          </p:cNvCxnSpPr>
          <p:nvPr/>
        </p:nvCxnSpPr>
        <p:spPr>
          <a:xfrm>
            <a:off x="9941500" y="2556942"/>
            <a:ext cx="0" cy="91173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C023D3A3-A3A9-481A-8A96-84F42D4FD93F}"/>
              </a:ext>
            </a:extLst>
          </p:cNvPr>
          <p:cNvSpPr txBox="1"/>
          <p:nvPr/>
        </p:nvSpPr>
        <p:spPr>
          <a:xfrm rot="10800000">
            <a:off x="6301576" y="-503434"/>
            <a:ext cx="461665" cy="6938589"/>
          </a:xfrm>
          <a:prstGeom prst="rect">
            <a:avLst/>
          </a:prstGeom>
          <a:noFill/>
        </p:spPr>
        <p:txBody>
          <a:bodyPr vert="eaVert" wrap="square" rtlCol="0">
            <a:spAutoFit/>
          </a:bodyPr>
          <a:lstStyle/>
          <a:p>
            <a:r>
              <a:rPr lang="sv-SE" dirty="0"/>
              <a:t>SAMMARBETE, </a:t>
            </a:r>
            <a:r>
              <a:rPr lang="sv-SE" dirty="0" err="1"/>
              <a:t>Lagstyrka</a:t>
            </a:r>
            <a:r>
              <a:rPr lang="sv-SE" dirty="0"/>
              <a:t>, </a:t>
            </a:r>
            <a:r>
              <a:rPr lang="sv-SE" dirty="0" err="1"/>
              <a:t>helheltstänk</a:t>
            </a:r>
            <a:r>
              <a:rPr lang="sv-SE" dirty="0"/>
              <a:t> (laggränser blir sekundärt)</a:t>
            </a:r>
          </a:p>
        </p:txBody>
      </p:sp>
      <p:cxnSp>
        <p:nvCxnSpPr>
          <p:cNvPr id="83" name="Straight Arrow Connector 82">
            <a:extLst>
              <a:ext uri="{FF2B5EF4-FFF2-40B4-BE49-F238E27FC236}">
                <a16:creationId xmlns:a16="http://schemas.microsoft.com/office/drawing/2014/main" id="{F929D11A-4533-4BB0-9000-D508EDA590C9}"/>
              </a:ext>
            </a:extLst>
          </p:cNvPr>
          <p:cNvCxnSpPr/>
          <p:nvPr/>
        </p:nvCxnSpPr>
        <p:spPr>
          <a:xfrm>
            <a:off x="6639953" y="2141417"/>
            <a:ext cx="0" cy="346477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C8D8D25-77AC-4CEA-BF83-561EB6D33B9C}"/>
              </a:ext>
            </a:extLst>
          </p:cNvPr>
          <p:cNvSpPr txBox="1"/>
          <p:nvPr/>
        </p:nvSpPr>
        <p:spPr>
          <a:xfrm>
            <a:off x="9928036" y="1451860"/>
            <a:ext cx="1382676" cy="646331"/>
          </a:xfrm>
          <a:prstGeom prst="rect">
            <a:avLst/>
          </a:prstGeom>
          <a:noFill/>
        </p:spPr>
        <p:txBody>
          <a:bodyPr wrap="square" rtlCol="0">
            <a:spAutoFit/>
          </a:bodyPr>
          <a:lstStyle/>
          <a:p>
            <a:r>
              <a:rPr lang="sv-SE" dirty="0"/>
              <a:t>Antal lag per</a:t>
            </a:r>
          </a:p>
          <a:p>
            <a:r>
              <a:rPr lang="sv-SE" dirty="0"/>
              <a:t> nivå X</a:t>
            </a:r>
          </a:p>
        </p:txBody>
      </p:sp>
      <p:sp>
        <p:nvSpPr>
          <p:cNvPr id="85" name="TextBox 84">
            <a:extLst>
              <a:ext uri="{FF2B5EF4-FFF2-40B4-BE49-F238E27FC236}">
                <a16:creationId xmlns:a16="http://schemas.microsoft.com/office/drawing/2014/main" id="{3E1C4F6F-A2C0-430E-8181-3D40A799A4CC}"/>
              </a:ext>
            </a:extLst>
          </p:cNvPr>
          <p:cNvSpPr txBox="1"/>
          <p:nvPr/>
        </p:nvSpPr>
        <p:spPr>
          <a:xfrm>
            <a:off x="10041854" y="2712199"/>
            <a:ext cx="1382676" cy="923330"/>
          </a:xfrm>
          <a:prstGeom prst="rect">
            <a:avLst/>
          </a:prstGeom>
          <a:noFill/>
        </p:spPr>
        <p:txBody>
          <a:bodyPr wrap="square" rtlCol="0">
            <a:spAutoFit/>
          </a:bodyPr>
          <a:lstStyle/>
          <a:p>
            <a:r>
              <a:rPr lang="sv-SE" dirty="0"/>
              <a:t>Antal lag per</a:t>
            </a:r>
          </a:p>
          <a:p>
            <a:r>
              <a:rPr lang="sv-SE" dirty="0"/>
              <a:t> nivå X</a:t>
            </a:r>
          </a:p>
          <a:p>
            <a:endParaRPr lang="sv-SE" dirty="0"/>
          </a:p>
        </p:txBody>
      </p:sp>
      <p:sp>
        <p:nvSpPr>
          <p:cNvPr id="87" name="TextBox 86">
            <a:extLst>
              <a:ext uri="{FF2B5EF4-FFF2-40B4-BE49-F238E27FC236}">
                <a16:creationId xmlns:a16="http://schemas.microsoft.com/office/drawing/2014/main" id="{AE83E36D-C524-4D04-8B6F-E0DC49BD168F}"/>
              </a:ext>
            </a:extLst>
          </p:cNvPr>
          <p:cNvSpPr txBox="1"/>
          <p:nvPr/>
        </p:nvSpPr>
        <p:spPr>
          <a:xfrm rot="10800000">
            <a:off x="187939" y="1109905"/>
            <a:ext cx="461665" cy="5086564"/>
          </a:xfrm>
          <a:prstGeom prst="rect">
            <a:avLst/>
          </a:prstGeom>
          <a:noFill/>
        </p:spPr>
        <p:txBody>
          <a:bodyPr vert="eaVert" wrap="square" rtlCol="0">
            <a:spAutoFit/>
          </a:bodyPr>
          <a:lstStyle/>
          <a:p>
            <a:r>
              <a:rPr lang="sv-SE" dirty="0"/>
              <a:t>Man spelar i sitt lag, föreningsstyrka, helt jämna lag</a:t>
            </a:r>
          </a:p>
        </p:txBody>
      </p:sp>
      <p:sp>
        <p:nvSpPr>
          <p:cNvPr id="88" name="TextBox 87">
            <a:extLst>
              <a:ext uri="{FF2B5EF4-FFF2-40B4-BE49-F238E27FC236}">
                <a16:creationId xmlns:a16="http://schemas.microsoft.com/office/drawing/2014/main" id="{87A2E9F9-01E5-4356-95F2-1E763DF305C4}"/>
              </a:ext>
            </a:extLst>
          </p:cNvPr>
          <p:cNvSpPr txBox="1"/>
          <p:nvPr/>
        </p:nvSpPr>
        <p:spPr>
          <a:xfrm>
            <a:off x="7634267" y="3054338"/>
            <a:ext cx="2381036" cy="369332"/>
          </a:xfrm>
          <a:prstGeom prst="rect">
            <a:avLst/>
          </a:prstGeom>
          <a:noFill/>
        </p:spPr>
        <p:txBody>
          <a:bodyPr wrap="square" rtlCol="0">
            <a:spAutoFit/>
          </a:bodyPr>
          <a:lstStyle/>
          <a:p>
            <a:r>
              <a:rPr lang="sv-SE" dirty="0"/>
              <a:t>A- pojk/ flickor 2 (PF07)</a:t>
            </a:r>
          </a:p>
        </p:txBody>
      </p:sp>
      <p:sp>
        <p:nvSpPr>
          <p:cNvPr id="90" name="Arrow: Up-Down 89">
            <a:extLst>
              <a:ext uri="{FF2B5EF4-FFF2-40B4-BE49-F238E27FC236}">
                <a16:creationId xmlns:a16="http://schemas.microsoft.com/office/drawing/2014/main" id="{6CC4AC94-DF1D-4A2D-9643-E16674F62E5E}"/>
              </a:ext>
            </a:extLst>
          </p:cNvPr>
          <p:cNvSpPr/>
          <p:nvPr/>
        </p:nvSpPr>
        <p:spPr>
          <a:xfrm>
            <a:off x="9306822" y="2025970"/>
            <a:ext cx="307441" cy="50822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1" name="Arrow: Up 90">
            <a:extLst>
              <a:ext uri="{FF2B5EF4-FFF2-40B4-BE49-F238E27FC236}">
                <a16:creationId xmlns:a16="http://schemas.microsoft.com/office/drawing/2014/main" id="{EFD2526B-4BA3-42B2-9A32-4DC59D4D4F1B}"/>
              </a:ext>
            </a:extLst>
          </p:cNvPr>
          <p:cNvSpPr/>
          <p:nvPr/>
        </p:nvSpPr>
        <p:spPr>
          <a:xfrm>
            <a:off x="9324625" y="1074152"/>
            <a:ext cx="306420" cy="35984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569885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4B5628-F7C5-4A0F-9341-470DDD3851B0}"/>
              </a:ext>
            </a:extLst>
          </p:cNvPr>
          <p:cNvSpPr/>
          <p:nvPr/>
        </p:nvSpPr>
        <p:spPr>
          <a:xfrm>
            <a:off x="1124190" y="1246903"/>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Dam junior </a:t>
            </a:r>
          </a:p>
        </p:txBody>
      </p:sp>
      <p:sp>
        <p:nvSpPr>
          <p:cNvPr id="5" name="Rectangle 4">
            <a:extLst>
              <a:ext uri="{FF2B5EF4-FFF2-40B4-BE49-F238E27FC236}">
                <a16:creationId xmlns:a16="http://schemas.microsoft.com/office/drawing/2014/main" id="{DDCA9F8C-49AA-45B0-9724-20EAA09F481B}"/>
              </a:ext>
            </a:extLst>
          </p:cNvPr>
          <p:cNvSpPr/>
          <p:nvPr/>
        </p:nvSpPr>
        <p:spPr>
          <a:xfrm>
            <a:off x="1124188" y="2907220"/>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6 </a:t>
            </a:r>
          </a:p>
        </p:txBody>
      </p:sp>
      <p:sp>
        <p:nvSpPr>
          <p:cNvPr id="6" name="Rectangle 5">
            <a:extLst>
              <a:ext uri="{FF2B5EF4-FFF2-40B4-BE49-F238E27FC236}">
                <a16:creationId xmlns:a16="http://schemas.microsoft.com/office/drawing/2014/main" id="{D9228297-3E2B-4A86-8E3A-110DE565ED6D}"/>
              </a:ext>
            </a:extLst>
          </p:cNvPr>
          <p:cNvSpPr/>
          <p:nvPr/>
        </p:nvSpPr>
        <p:spPr>
          <a:xfrm>
            <a:off x="1124189" y="4574377"/>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7 medel</a:t>
            </a:r>
          </a:p>
        </p:txBody>
      </p:sp>
      <p:sp>
        <p:nvSpPr>
          <p:cNvPr id="7" name="Rectangle 6">
            <a:extLst>
              <a:ext uri="{FF2B5EF4-FFF2-40B4-BE49-F238E27FC236}">
                <a16:creationId xmlns:a16="http://schemas.microsoft.com/office/drawing/2014/main" id="{E6E5D3D6-127F-4492-B72F-828BD2BA1284}"/>
              </a:ext>
            </a:extLst>
          </p:cNvPr>
          <p:cNvSpPr/>
          <p:nvPr/>
        </p:nvSpPr>
        <p:spPr>
          <a:xfrm>
            <a:off x="1124189" y="5512925"/>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7 lätt</a:t>
            </a:r>
          </a:p>
        </p:txBody>
      </p:sp>
      <p:sp>
        <p:nvSpPr>
          <p:cNvPr id="2" name="Arrow: Chevron 1">
            <a:extLst>
              <a:ext uri="{FF2B5EF4-FFF2-40B4-BE49-F238E27FC236}">
                <a16:creationId xmlns:a16="http://schemas.microsoft.com/office/drawing/2014/main" id="{2FBD788C-C17B-4F4B-BA25-217F8C2CBAEB}"/>
              </a:ext>
            </a:extLst>
          </p:cNvPr>
          <p:cNvSpPr/>
          <p:nvPr/>
        </p:nvSpPr>
        <p:spPr>
          <a:xfrm>
            <a:off x="5763357" y="2396410"/>
            <a:ext cx="1031966" cy="2427602"/>
          </a:xfrm>
          <a:prstGeom prst="chevro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Rectangle 7">
            <a:extLst>
              <a:ext uri="{FF2B5EF4-FFF2-40B4-BE49-F238E27FC236}">
                <a16:creationId xmlns:a16="http://schemas.microsoft.com/office/drawing/2014/main" id="{393FC1F7-038B-400D-9F7E-180A0E11A2B5}"/>
              </a:ext>
            </a:extLst>
          </p:cNvPr>
          <p:cNvSpPr/>
          <p:nvPr/>
        </p:nvSpPr>
        <p:spPr>
          <a:xfrm>
            <a:off x="7716956" y="2002147"/>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DJ lag yngre </a:t>
            </a:r>
          </a:p>
        </p:txBody>
      </p:sp>
      <p:sp>
        <p:nvSpPr>
          <p:cNvPr id="9" name="Rectangle 8">
            <a:extLst>
              <a:ext uri="{FF2B5EF4-FFF2-40B4-BE49-F238E27FC236}">
                <a16:creationId xmlns:a16="http://schemas.microsoft.com/office/drawing/2014/main" id="{A341D1D4-7D9A-4898-A7C4-464BBEAA297D}"/>
              </a:ext>
            </a:extLst>
          </p:cNvPr>
          <p:cNvSpPr/>
          <p:nvPr/>
        </p:nvSpPr>
        <p:spPr>
          <a:xfrm>
            <a:off x="7738345" y="1139563"/>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DJ lag äldre </a:t>
            </a:r>
          </a:p>
        </p:txBody>
      </p:sp>
      <p:sp>
        <p:nvSpPr>
          <p:cNvPr id="10" name="Rectangle 9">
            <a:extLst>
              <a:ext uri="{FF2B5EF4-FFF2-40B4-BE49-F238E27FC236}">
                <a16:creationId xmlns:a16="http://schemas.microsoft.com/office/drawing/2014/main" id="{ED17E1B5-F2CD-448B-989F-DBCD7EFF177B}"/>
              </a:ext>
            </a:extLst>
          </p:cNvPr>
          <p:cNvSpPr/>
          <p:nvPr/>
        </p:nvSpPr>
        <p:spPr>
          <a:xfrm>
            <a:off x="7686093" y="3379214"/>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7 medel?</a:t>
            </a:r>
          </a:p>
        </p:txBody>
      </p:sp>
      <p:sp>
        <p:nvSpPr>
          <p:cNvPr id="11" name="Rectangle 10">
            <a:extLst>
              <a:ext uri="{FF2B5EF4-FFF2-40B4-BE49-F238E27FC236}">
                <a16:creationId xmlns:a16="http://schemas.microsoft.com/office/drawing/2014/main" id="{D2947F93-C12D-48AE-AA40-CAC18A5D751A}"/>
              </a:ext>
            </a:extLst>
          </p:cNvPr>
          <p:cNvSpPr/>
          <p:nvPr/>
        </p:nvSpPr>
        <p:spPr>
          <a:xfrm>
            <a:off x="7686093" y="4885661"/>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8 ?</a:t>
            </a:r>
          </a:p>
        </p:txBody>
      </p:sp>
      <p:sp>
        <p:nvSpPr>
          <p:cNvPr id="12" name="Rectangle 11">
            <a:extLst>
              <a:ext uri="{FF2B5EF4-FFF2-40B4-BE49-F238E27FC236}">
                <a16:creationId xmlns:a16="http://schemas.microsoft.com/office/drawing/2014/main" id="{57632FE0-2722-41BA-8F82-8354D46F555B}"/>
              </a:ext>
            </a:extLst>
          </p:cNvPr>
          <p:cNvSpPr/>
          <p:nvPr/>
        </p:nvSpPr>
        <p:spPr>
          <a:xfrm>
            <a:off x="7686094" y="5789913"/>
            <a:ext cx="3891945" cy="7885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F08 ?</a:t>
            </a:r>
          </a:p>
        </p:txBody>
      </p:sp>
      <p:sp>
        <p:nvSpPr>
          <p:cNvPr id="13" name="Arrow: Up-Down 12">
            <a:extLst>
              <a:ext uri="{FF2B5EF4-FFF2-40B4-BE49-F238E27FC236}">
                <a16:creationId xmlns:a16="http://schemas.microsoft.com/office/drawing/2014/main" id="{5D9F6C87-A3B6-402C-B60C-40A49970E5DA}"/>
              </a:ext>
            </a:extLst>
          </p:cNvPr>
          <p:cNvSpPr/>
          <p:nvPr/>
        </p:nvSpPr>
        <p:spPr>
          <a:xfrm>
            <a:off x="9453696" y="2842506"/>
            <a:ext cx="356737" cy="49024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Arrow: Up-Down 13">
            <a:extLst>
              <a:ext uri="{FF2B5EF4-FFF2-40B4-BE49-F238E27FC236}">
                <a16:creationId xmlns:a16="http://schemas.microsoft.com/office/drawing/2014/main" id="{FCD54823-579B-460B-918A-B06F465B8A76}"/>
              </a:ext>
            </a:extLst>
          </p:cNvPr>
          <p:cNvSpPr/>
          <p:nvPr/>
        </p:nvSpPr>
        <p:spPr>
          <a:xfrm>
            <a:off x="9484561" y="4247299"/>
            <a:ext cx="356737" cy="49024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Box 14">
            <a:extLst>
              <a:ext uri="{FF2B5EF4-FFF2-40B4-BE49-F238E27FC236}">
                <a16:creationId xmlns:a16="http://schemas.microsoft.com/office/drawing/2014/main" id="{9F9AD432-28A6-4369-BD34-35CFBB5FA425}"/>
              </a:ext>
            </a:extLst>
          </p:cNvPr>
          <p:cNvSpPr txBox="1"/>
          <p:nvPr/>
        </p:nvSpPr>
        <p:spPr>
          <a:xfrm>
            <a:off x="1124189" y="325716"/>
            <a:ext cx="3787445" cy="461665"/>
          </a:xfrm>
          <a:prstGeom prst="rect">
            <a:avLst/>
          </a:prstGeom>
          <a:noFill/>
        </p:spPr>
        <p:txBody>
          <a:bodyPr wrap="square" rtlCol="0">
            <a:spAutoFit/>
          </a:bodyPr>
          <a:lstStyle/>
          <a:p>
            <a:pPr algn="ctr"/>
            <a:r>
              <a:rPr lang="en-GB" sz="2400" dirty="0"/>
              <a:t>Dam-Flick </a:t>
            </a:r>
            <a:r>
              <a:rPr lang="en-GB" sz="2400" dirty="0" err="1"/>
              <a:t>säsongen</a:t>
            </a:r>
            <a:r>
              <a:rPr lang="en-GB" sz="2400" dirty="0"/>
              <a:t> 2021</a:t>
            </a:r>
          </a:p>
        </p:txBody>
      </p:sp>
      <p:sp>
        <p:nvSpPr>
          <p:cNvPr id="16" name="TextBox 15">
            <a:extLst>
              <a:ext uri="{FF2B5EF4-FFF2-40B4-BE49-F238E27FC236}">
                <a16:creationId xmlns:a16="http://schemas.microsoft.com/office/drawing/2014/main" id="{C5AE213C-1E5A-4FDA-9136-4D8176C849EA}"/>
              </a:ext>
            </a:extLst>
          </p:cNvPr>
          <p:cNvSpPr txBox="1"/>
          <p:nvPr/>
        </p:nvSpPr>
        <p:spPr>
          <a:xfrm>
            <a:off x="7590838" y="423454"/>
            <a:ext cx="3787445" cy="461665"/>
          </a:xfrm>
          <a:prstGeom prst="rect">
            <a:avLst/>
          </a:prstGeom>
          <a:noFill/>
        </p:spPr>
        <p:txBody>
          <a:bodyPr wrap="square" rtlCol="0">
            <a:spAutoFit/>
          </a:bodyPr>
          <a:lstStyle/>
          <a:p>
            <a:pPr algn="ctr"/>
            <a:r>
              <a:rPr lang="en-GB" sz="2400" dirty="0"/>
              <a:t>Dam-Flick </a:t>
            </a:r>
            <a:r>
              <a:rPr lang="en-GB" sz="2400" dirty="0" err="1"/>
              <a:t>säsongen</a:t>
            </a:r>
            <a:r>
              <a:rPr lang="en-GB" sz="2400" dirty="0"/>
              <a:t> 2022</a:t>
            </a:r>
          </a:p>
        </p:txBody>
      </p:sp>
      <p:pic>
        <p:nvPicPr>
          <p:cNvPr id="17" name="Picture 16">
            <a:extLst>
              <a:ext uri="{FF2B5EF4-FFF2-40B4-BE49-F238E27FC236}">
                <a16:creationId xmlns:a16="http://schemas.microsoft.com/office/drawing/2014/main" id="{C32702C4-C8D1-4427-9548-EEEE85AB9C6C}"/>
              </a:ext>
            </a:extLst>
          </p:cNvPr>
          <p:cNvPicPr>
            <a:picLocks noChangeAspect="1"/>
          </p:cNvPicPr>
          <p:nvPr/>
        </p:nvPicPr>
        <p:blipFill rotWithShape="1">
          <a:blip r:embed="rId2" cstate="print">
            <a:alphaModFix/>
            <a:extLst>
              <a:ext uri="{28A0092B-C50C-407E-A947-70E740481C1C}">
                <a14:useLocalDpi xmlns:a14="http://schemas.microsoft.com/office/drawing/2010/main" val="0"/>
              </a:ext>
            </a:extLst>
          </a:blip>
          <a:srcRect r="-8" b="152"/>
          <a:stretch/>
        </p:blipFill>
        <p:spPr>
          <a:xfrm>
            <a:off x="142096" y="66290"/>
            <a:ext cx="982092" cy="980515"/>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Tree>
    <p:extLst>
      <p:ext uri="{BB962C8B-B14F-4D97-AF65-F5344CB8AC3E}">
        <p14:creationId xmlns:p14="http://schemas.microsoft.com/office/powerpoint/2010/main" val="2244545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228297-3E2B-4A86-8E3A-110DE565ED6D}"/>
              </a:ext>
            </a:extLst>
          </p:cNvPr>
          <p:cNvSpPr/>
          <p:nvPr/>
        </p:nvSpPr>
        <p:spPr>
          <a:xfrm>
            <a:off x="1159010" y="3196431"/>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6 svår</a:t>
            </a:r>
          </a:p>
        </p:txBody>
      </p:sp>
      <p:sp>
        <p:nvSpPr>
          <p:cNvPr id="2" name="Arrow: Chevron 1">
            <a:extLst>
              <a:ext uri="{FF2B5EF4-FFF2-40B4-BE49-F238E27FC236}">
                <a16:creationId xmlns:a16="http://schemas.microsoft.com/office/drawing/2014/main" id="{2FBD788C-C17B-4F4B-BA25-217F8C2CBAEB}"/>
              </a:ext>
            </a:extLst>
          </p:cNvPr>
          <p:cNvSpPr/>
          <p:nvPr/>
        </p:nvSpPr>
        <p:spPr>
          <a:xfrm>
            <a:off x="5763357" y="2396410"/>
            <a:ext cx="1031966" cy="2427602"/>
          </a:xfrm>
          <a:prstGeom prst="chevro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Arrow: Up-Down 12">
            <a:extLst>
              <a:ext uri="{FF2B5EF4-FFF2-40B4-BE49-F238E27FC236}">
                <a16:creationId xmlns:a16="http://schemas.microsoft.com/office/drawing/2014/main" id="{5D9F6C87-A3B6-402C-B60C-40A49970E5DA}"/>
              </a:ext>
            </a:extLst>
          </p:cNvPr>
          <p:cNvSpPr/>
          <p:nvPr/>
        </p:nvSpPr>
        <p:spPr>
          <a:xfrm>
            <a:off x="9275328" y="2114888"/>
            <a:ext cx="356737" cy="49024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Arrow: Up-Down 13">
            <a:extLst>
              <a:ext uri="{FF2B5EF4-FFF2-40B4-BE49-F238E27FC236}">
                <a16:creationId xmlns:a16="http://schemas.microsoft.com/office/drawing/2014/main" id="{FCD54823-579B-460B-918A-B06F465B8A76}"/>
              </a:ext>
            </a:extLst>
          </p:cNvPr>
          <p:cNvSpPr/>
          <p:nvPr/>
        </p:nvSpPr>
        <p:spPr>
          <a:xfrm>
            <a:off x="9098094" y="4737018"/>
            <a:ext cx="356737" cy="49024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Box 14">
            <a:extLst>
              <a:ext uri="{FF2B5EF4-FFF2-40B4-BE49-F238E27FC236}">
                <a16:creationId xmlns:a16="http://schemas.microsoft.com/office/drawing/2014/main" id="{9F9AD432-28A6-4369-BD34-35CFBB5FA425}"/>
              </a:ext>
            </a:extLst>
          </p:cNvPr>
          <p:cNvSpPr txBox="1"/>
          <p:nvPr/>
        </p:nvSpPr>
        <p:spPr>
          <a:xfrm>
            <a:off x="1211259" y="62977"/>
            <a:ext cx="3787445" cy="461665"/>
          </a:xfrm>
          <a:prstGeom prst="rect">
            <a:avLst/>
          </a:prstGeom>
          <a:noFill/>
        </p:spPr>
        <p:txBody>
          <a:bodyPr wrap="square" rtlCol="0">
            <a:spAutoFit/>
          </a:bodyPr>
          <a:lstStyle/>
          <a:p>
            <a:pPr algn="ctr"/>
            <a:r>
              <a:rPr lang="en-GB" sz="2400" dirty="0"/>
              <a:t>Herr-</a:t>
            </a:r>
            <a:r>
              <a:rPr lang="en-GB" sz="2400" dirty="0" err="1"/>
              <a:t>pojk</a:t>
            </a:r>
            <a:r>
              <a:rPr lang="en-GB" sz="2400" dirty="0"/>
              <a:t> </a:t>
            </a:r>
            <a:r>
              <a:rPr lang="en-GB" sz="2400" dirty="0" err="1"/>
              <a:t>säsongen</a:t>
            </a:r>
            <a:r>
              <a:rPr lang="en-GB" sz="2400" dirty="0"/>
              <a:t> 2021</a:t>
            </a:r>
          </a:p>
        </p:txBody>
      </p:sp>
      <p:sp>
        <p:nvSpPr>
          <p:cNvPr id="16" name="TextBox 15">
            <a:extLst>
              <a:ext uri="{FF2B5EF4-FFF2-40B4-BE49-F238E27FC236}">
                <a16:creationId xmlns:a16="http://schemas.microsoft.com/office/drawing/2014/main" id="{C5AE213C-1E5A-4FDA-9136-4D8176C849EA}"/>
              </a:ext>
            </a:extLst>
          </p:cNvPr>
          <p:cNvSpPr txBox="1"/>
          <p:nvPr/>
        </p:nvSpPr>
        <p:spPr>
          <a:xfrm>
            <a:off x="7538587" y="48728"/>
            <a:ext cx="3787445" cy="461665"/>
          </a:xfrm>
          <a:prstGeom prst="rect">
            <a:avLst/>
          </a:prstGeom>
          <a:noFill/>
        </p:spPr>
        <p:txBody>
          <a:bodyPr wrap="square" rtlCol="0">
            <a:spAutoFit/>
          </a:bodyPr>
          <a:lstStyle/>
          <a:p>
            <a:pPr algn="ctr"/>
            <a:r>
              <a:rPr lang="en-GB" sz="2400" dirty="0"/>
              <a:t>Herr-</a:t>
            </a:r>
            <a:r>
              <a:rPr lang="en-GB" sz="2400" dirty="0" err="1"/>
              <a:t>pojk</a:t>
            </a:r>
            <a:r>
              <a:rPr lang="en-GB" sz="2400" dirty="0"/>
              <a:t> </a:t>
            </a:r>
            <a:r>
              <a:rPr lang="en-GB" sz="2400" dirty="0" err="1"/>
              <a:t>säsongen</a:t>
            </a:r>
            <a:r>
              <a:rPr lang="en-GB" sz="2400" dirty="0"/>
              <a:t> 2022</a:t>
            </a:r>
          </a:p>
        </p:txBody>
      </p:sp>
      <p:pic>
        <p:nvPicPr>
          <p:cNvPr id="17" name="Picture 16">
            <a:extLst>
              <a:ext uri="{FF2B5EF4-FFF2-40B4-BE49-F238E27FC236}">
                <a16:creationId xmlns:a16="http://schemas.microsoft.com/office/drawing/2014/main" id="{C32702C4-C8D1-4427-9548-EEEE85AB9C6C}"/>
              </a:ext>
            </a:extLst>
          </p:cNvPr>
          <p:cNvPicPr>
            <a:picLocks noChangeAspect="1"/>
          </p:cNvPicPr>
          <p:nvPr/>
        </p:nvPicPr>
        <p:blipFill rotWithShape="1">
          <a:blip r:embed="rId2" cstate="print">
            <a:alphaModFix/>
            <a:extLst>
              <a:ext uri="{28A0092B-C50C-407E-A947-70E740481C1C}">
                <a14:useLocalDpi xmlns:a14="http://schemas.microsoft.com/office/drawing/2010/main" val="0"/>
              </a:ext>
            </a:extLst>
          </a:blip>
          <a:srcRect r="-8" b="152"/>
          <a:stretch/>
        </p:blipFill>
        <p:spPr>
          <a:xfrm>
            <a:off x="142096" y="66290"/>
            <a:ext cx="982092" cy="980515"/>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20" name="Rectangle 19">
            <a:extLst>
              <a:ext uri="{FF2B5EF4-FFF2-40B4-BE49-F238E27FC236}">
                <a16:creationId xmlns:a16="http://schemas.microsoft.com/office/drawing/2014/main" id="{9953EE6A-5BD8-42BB-A23F-27F4BA78D4A5}"/>
              </a:ext>
            </a:extLst>
          </p:cNvPr>
          <p:cNvSpPr/>
          <p:nvPr/>
        </p:nvSpPr>
        <p:spPr>
          <a:xfrm>
            <a:off x="1159010" y="3869773"/>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6 lätt</a:t>
            </a:r>
          </a:p>
        </p:txBody>
      </p:sp>
      <p:sp>
        <p:nvSpPr>
          <p:cNvPr id="21" name="Rectangle 20">
            <a:extLst>
              <a:ext uri="{FF2B5EF4-FFF2-40B4-BE49-F238E27FC236}">
                <a16:creationId xmlns:a16="http://schemas.microsoft.com/office/drawing/2014/main" id="{11706CED-C4EA-4DA3-A19E-B8592F3B7E80}"/>
              </a:ext>
            </a:extLst>
          </p:cNvPr>
          <p:cNvSpPr/>
          <p:nvPr/>
        </p:nvSpPr>
        <p:spPr>
          <a:xfrm>
            <a:off x="1211258" y="5359070"/>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7  svår</a:t>
            </a:r>
          </a:p>
        </p:txBody>
      </p:sp>
      <p:sp>
        <p:nvSpPr>
          <p:cNvPr id="22" name="Rectangle 21">
            <a:extLst>
              <a:ext uri="{FF2B5EF4-FFF2-40B4-BE49-F238E27FC236}">
                <a16:creationId xmlns:a16="http://schemas.microsoft.com/office/drawing/2014/main" id="{3706AAD0-27FD-47E0-BB0C-C11A5D63E1C5}"/>
              </a:ext>
            </a:extLst>
          </p:cNvPr>
          <p:cNvSpPr/>
          <p:nvPr/>
        </p:nvSpPr>
        <p:spPr>
          <a:xfrm>
            <a:off x="1211259" y="6046313"/>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7 lätt</a:t>
            </a:r>
          </a:p>
        </p:txBody>
      </p:sp>
      <p:sp>
        <p:nvSpPr>
          <p:cNvPr id="23" name="Rectangle 22">
            <a:extLst>
              <a:ext uri="{FF2B5EF4-FFF2-40B4-BE49-F238E27FC236}">
                <a16:creationId xmlns:a16="http://schemas.microsoft.com/office/drawing/2014/main" id="{85BB4647-9E54-4BFD-98AD-6FB4ABB0F4D1}"/>
              </a:ext>
            </a:extLst>
          </p:cNvPr>
          <p:cNvSpPr/>
          <p:nvPr/>
        </p:nvSpPr>
        <p:spPr>
          <a:xfrm>
            <a:off x="7538587" y="1478180"/>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Herr Junior</a:t>
            </a:r>
          </a:p>
        </p:txBody>
      </p:sp>
      <p:sp>
        <p:nvSpPr>
          <p:cNvPr id="24" name="Rectangle 23">
            <a:extLst>
              <a:ext uri="{FF2B5EF4-FFF2-40B4-BE49-F238E27FC236}">
                <a16:creationId xmlns:a16="http://schemas.microsoft.com/office/drawing/2014/main" id="{7805F19E-50E4-483F-9D9A-86E1CFCF188B}"/>
              </a:ext>
            </a:extLst>
          </p:cNvPr>
          <p:cNvSpPr/>
          <p:nvPr/>
        </p:nvSpPr>
        <p:spPr>
          <a:xfrm>
            <a:off x="1157172" y="741913"/>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Herr senior</a:t>
            </a:r>
          </a:p>
        </p:txBody>
      </p:sp>
      <p:sp>
        <p:nvSpPr>
          <p:cNvPr id="25" name="Rectangle 24">
            <a:extLst>
              <a:ext uri="{FF2B5EF4-FFF2-40B4-BE49-F238E27FC236}">
                <a16:creationId xmlns:a16="http://schemas.microsoft.com/office/drawing/2014/main" id="{4866401B-2860-4780-A3D4-1E6A15FAF0DF}"/>
              </a:ext>
            </a:extLst>
          </p:cNvPr>
          <p:cNvSpPr/>
          <p:nvPr/>
        </p:nvSpPr>
        <p:spPr>
          <a:xfrm>
            <a:off x="7538587" y="732186"/>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Herr senior</a:t>
            </a:r>
          </a:p>
        </p:txBody>
      </p:sp>
      <p:sp>
        <p:nvSpPr>
          <p:cNvPr id="26" name="Rectangle 25">
            <a:extLst>
              <a:ext uri="{FF2B5EF4-FFF2-40B4-BE49-F238E27FC236}">
                <a16:creationId xmlns:a16="http://schemas.microsoft.com/office/drawing/2014/main" id="{38F857C7-D123-44E9-AF74-6FA454AB8250}"/>
              </a:ext>
            </a:extLst>
          </p:cNvPr>
          <p:cNvSpPr/>
          <p:nvPr/>
        </p:nvSpPr>
        <p:spPr>
          <a:xfrm>
            <a:off x="7456978" y="2643964"/>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A-pojk 1 svår</a:t>
            </a:r>
          </a:p>
        </p:txBody>
      </p:sp>
      <p:sp>
        <p:nvSpPr>
          <p:cNvPr id="27" name="Rectangle 26">
            <a:extLst>
              <a:ext uri="{FF2B5EF4-FFF2-40B4-BE49-F238E27FC236}">
                <a16:creationId xmlns:a16="http://schemas.microsoft.com/office/drawing/2014/main" id="{5453E4A7-9B5E-425B-BBFA-1B1524FA8EF4}"/>
              </a:ext>
            </a:extLst>
          </p:cNvPr>
          <p:cNvSpPr/>
          <p:nvPr/>
        </p:nvSpPr>
        <p:spPr>
          <a:xfrm>
            <a:off x="7434085" y="3993500"/>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A-pojk 2 lätt</a:t>
            </a:r>
          </a:p>
        </p:txBody>
      </p:sp>
      <p:sp>
        <p:nvSpPr>
          <p:cNvPr id="28" name="Rectangle 27">
            <a:extLst>
              <a:ext uri="{FF2B5EF4-FFF2-40B4-BE49-F238E27FC236}">
                <a16:creationId xmlns:a16="http://schemas.microsoft.com/office/drawing/2014/main" id="{207458B9-E1E3-4D2A-88EA-76435DB5BE54}"/>
              </a:ext>
            </a:extLst>
          </p:cNvPr>
          <p:cNvSpPr/>
          <p:nvPr/>
        </p:nvSpPr>
        <p:spPr>
          <a:xfrm>
            <a:off x="7456978" y="3325550"/>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A-pojk 1 lätt</a:t>
            </a:r>
          </a:p>
        </p:txBody>
      </p:sp>
      <p:sp>
        <p:nvSpPr>
          <p:cNvPr id="29" name="Rectangle 28">
            <a:extLst>
              <a:ext uri="{FF2B5EF4-FFF2-40B4-BE49-F238E27FC236}">
                <a16:creationId xmlns:a16="http://schemas.microsoft.com/office/drawing/2014/main" id="{7237BFDD-1F9E-47BF-8891-C63CF620B8EF}"/>
              </a:ext>
            </a:extLst>
          </p:cNvPr>
          <p:cNvSpPr/>
          <p:nvPr/>
        </p:nvSpPr>
        <p:spPr>
          <a:xfrm>
            <a:off x="7456978" y="5359070"/>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8 medel</a:t>
            </a:r>
          </a:p>
        </p:txBody>
      </p:sp>
      <p:sp>
        <p:nvSpPr>
          <p:cNvPr id="30" name="Rectangle 29">
            <a:extLst>
              <a:ext uri="{FF2B5EF4-FFF2-40B4-BE49-F238E27FC236}">
                <a16:creationId xmlns:a16="http://schemas.microsoft.com/office/drawing/2014/main" id="{714DF09E-FAE4-4A08-BE75-568CD4899B9D}"/>
              </a:ext>
            </a:extLst>
          </p:cNvPr>
          <p:cNvSpPr/>
          <p:nvPr/>
        </p:nvSpPr>
        <p:spPr>
          <a:xfrm>
            <a:off x="7434086" y="6053548"/>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P08 lätt</a:t>
            </a:r>
          </a:p>
        </p:txBody>
      </p:sp>
      <p:sp>
        <p:nvSpPr>
          <p:cNvPr id="31" name="Rectangle 30">
            <a:extLst>
              <a:ext uri="{FF2B5EF4-FFF2-40B4-BE49-F238E27FC236}">
                <a16:creationId xmlns:a16="http://schemas.microsoft.com/office/drawing/2014/main" id="{B0161F36-D791-4310-BEE8-93D6BB83758E}"/>
              </a:ext>
            </a:extLst>
          </p:cNvPr>
          <p:cNvSpPr/>
          <p:nvPr/>
        </p:nvSpPr>
        <p:spPr>
          <a:xfrm>
            <a:off x="1178207" y="1850269"/>
            <a:ext cx="3891945" cy="5978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Herr Junior</a:t>
            </a:r>
          </a:p>
        </p:txBody>
      </p:sp>
    </p:spTree>
    <p:extLst>
      <p:ext uri="{BB962C8B-B14F-4D97-AF65-F5344CB8AC3E}">
        <p14:creationId xmlns:p14="http://schemas.microsoft.com/office/powerpoint/2010/main" val="19321573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D3DD93-97C2-473D-86EB-FE17F27F45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66D3DD93-97C2-473D-86EB-FE17F27F45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404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1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303A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p:nvPicPr>
        <p:blipFill rotWithShape="1">
          <a:blip r:embed="rId5" cstate="print">
            <a:alphaModFix/>
            <a:extLst>
              <a:ext uri="{28A0092B-C50C-407E-A947-70E740481C1C}">
                <a14:useLocalDpi xmlns:a14="http://schemas.microsoft.com/office/drawing/2010/main" val="0"/>
              </a:ext>
            </a:extLst>
          </a:blip>
          <a:srcRect r="-8" b="152"/>
          <a:stretch/>
        </p:blipFill>
        <p:spPr>
          <a:xfrm>
            <a:off x="9030743" y="2474254"/>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2" name="TextBox 1">
            <a:extLst>
              <a:ext uri="{FF2B5EF4-FFF2-40B4-BE49-F238E27FC236}">
                <a16:creationId xmlns:a16="http://schemas.microsoft.com/office/drawing/2014/main" id="{62EE369E-6BF2-466E-8AC8-DF810ACA2071}"/>
              </a:ext>
            </a:extLst>
          </p:cNvPr>
          <p:cNvSpPr txBox="1"/>
          <p:nvPr/>
        </p:nvSpPr>
        <p:spPr>
          <a:xfrm>
            <a:off x="289112" y="523982"/>
            <a:ext cx="7006975" cy="523220"/>
          </a:xfrm>
          <a:prstGeom prst="rect">
            <a:avLst/>
          </a:prstGeom>
          <a:noFill/>
        </p:spPr>
        <p:txBody>
          <a:bodyPr wrap="square" rtlCol="0">
            <a:spAutoFit/>
          </a:bodyPr>
          <a:lstStyle/>
          <a:p>
            <a:r>
              <a:rPr lang="sv-SE" sz="2800" dirty="0">
                <a:latin typeface="+mj-lt"/>
              </a:rPr>
              <a:t>Hur och när ska detta ske</a:t>
            </a:r>
          </a:p>
        </p:txBody>
      </p:sp>
      <p:sp>
        <p:nvSpPr>
          <p:cNvPr id="5" name="TextBox 4">
            <a:extLst>
              <a:ext uri="{FF2B5EF4-FFF2-40B4-BE49-F238E27FC236}">
                <a16:creationId xmlns:a16="http://schemas.microsoft.com/office/drawing/2014/main" id="{8F9D0F08-B6A9-4779-9D7B-A545D9C6C312}"/>
              </a:ext>
            </a:extLst>
          </p:cNvPr>
          <p:cNvSpPr txBox="1"/>
          <p:nvPr/>
        </p:nvSpPr>
        <p:spPr>
          <a:xfrm>
            <a:off x="5695616" y="2067750"/>
            <a:ext cx="3277455" cy="2554545"/>
          </a:xfrm>
          <a:prstGeom prst="rect">
            <a:avLst/>
          </a:prstGeom>
          <a:noFill/>
        </p:spPr>
        <p:txBody>
          <a:bodyPr wrap="square" rtlCol="0">
            <a:spAutoFit/>
          </a:bodyPr>
          <a:lstStyle/>
          <a:p>
            <a:pPr marL="285750" indent="-285750">
              <a:buFont typeface="Arial" panose="020B0604020202020204" pitchFamily="34" charset="0"/>
              <a:buChar char="•"/>
            </a:pPr>
            <a:r>
              <a:rPr lang="sv-SE" sz="2000" dirty="0">
                <a:latin typeface="+mj-lt"/>
                <a:ea typeface="+mj-ea"/>
                <a:cs typeface="+mj-cs"/>
              </a:rPr>
              <a:t>KOMMUNICATION mellan ledarna</a:t>
            </a:r>
          </a:p>
          <a:p>
            <a:pPr marL="285750" indent="-285750">
              <a:buFont typeface="Arial" panose="020B0604020202020204" pitchFamily="34" charset="0"/>
              <a:buChar char="•"/>
            </a:pPr>
            <a:endParaRPr lang="sv-SE" sz="2000" dirty="0">
              <a:latin typeface="+mj-lt"/>
              <a:ea typeface="+mj-ea"/>
              <a:cs typeface="+mj-cs"/>
            </a:endParaRPr>
          </a:p>
          <a:p>
            <a:pPr marL="285750" indent="-285750">
              <a:buFont typeface="Arial" panose="020B0604020202020204" pitchFamily="34" charset="0"/>
              <a:buChar char="•"/>
            </a:pPr>
            <a:r>
              <a:rPr lang="sv-SE" sz="2000" dirty="0">
                <a:latin typeface="+mj-lt"/>
                <a:ea typeface="+mj-ea"/>
                <a:cs typeface="+mj-cs"/>
              </a:rPr>
              <a:t>Helhetstänk – focus på bästa lösningen för majoriteten</a:t>
            </a:r>
          </a:p>
          <a:p>
            <a:pPr marL="285750" indent="-285750">
              <a:buFont typeface="Arial" panose="020B0604020202020204" pitchFamily="34" charset="0"/>
              <a:buChar char="•"/>
            </a:pPr>
            <a:endParaRPr lang="sv-SE" sz="2000" dirty="0">
              <a:latin typeface="+mj-lt"/>
              <a:ea typeface="+mj-ea"/>
              <a:cs typeface="+mj-cs"/>
            </a:endParaRPr>
          </a:p>
          <a:p>
            <a:pPr marL="285750" indent="-285750">
              <a:buFont typeface="Arial" panose="020B0604020202020204" pitchFamily="34" charset="0"/>
              <a:buChar char="•"/>
            </a:pPr>
            <a:r>
              <a:rPr lang="sv-SE" sz="2000" dirty="0">
                <a:latin typeface="+mj-lt"/>
                <a:ea typeface="+mj-ea"/>
                <a:cs typeface="+mj-cs"/>
              </a:rPr>
              <a:t>Gemensam planering </a:t>
            </a:r>
          </a:p>
        </p:txBody>
      </p:sp>
      <p:graphicFrame>
        <p:nvGraphicFramePr>
          <p:cNvPr id="9" name="Diagram 8">
            <a:extLst>
              <a:ext uri="{FF2B5EF4-FFF2-40B4-BE49-F238E27FC236}">
                <a16:creationId xmlns:a16="http://schemas.microsoft.com/office/drawing/2014/main" id="{7B50BAAF-B1C6-443B-BBC1-24CFF424438C}"/>
              </a:ext>
            </a:extLst>
          </p:cNvPr>
          <p:cNvGraphicFramePr/>
          <p:nvPr>
            <p:extLst>
              <p:ext uri="{D42A27DB-BD31-4B8C-83A1-F6EECF244321}">
                <p14:modId xmlns:p14="http://schemas.microsoft.com/office/powerpoint/2010/main" val="1476350661"/>
              </p:ext>
            </p:extLst>
          </p:nvPr>
        </p:nvGraphicFramePr>
        <p:xfrm>
          <a:off x="-469186" y="1571821"/>
          <a:ext cx="6380251" cy="443029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065130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5BB140B871DDC49A50EC965D7612DDB" ma:contentTypeVersion="12" ma:contentTypeDescription="Skapa ett nytt dokument." ma:contentTypeScope="" ma:versionID="5f96e7894dce70014cf530c172b8e6b5">
  <xsd:schema xmlns:xsd="http://www.w3.org/2001/XMLSchema" xmlns:xs="http://www.w3.org/2001/XMLSchema" xmlns:p="http://schemas.microsoft.com/office/2006/metadata/properties" xmlns:ns2="86e57c04-25db-4541-8472-01654f38f644" xmlns:ns3="77f5d943-262f-4a33-8a17-4e131f2d89a5" targetNamespace="http://schemas.microsoft.com/office/2006/metadata/properties" ma:root="true" ma:fieldsID="50e1d2ac099d4de885bf719dde9bd064" ns2:_="" ns3:_="">
    <xsd:import namespace="86e57c04-25db-4541-8472-01654f38f644"/>
    <xsd:import namespace="77f5d943-262f-4a33-8a17-4e131f2d89a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e57c04-25db-4541-8472-01654f38f6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f5d943-262f-4a33-8a17-4e131f2d89a5" elementFormDefault="qualified">
    <xsd:import namespace="http://schemas.microsoft.com/office/2006/documentManagement/types"/>
    <xsd:import namespace="http://schemas.microsoft.com/office/infopath/2007/PartnerControls"/>
    <xsd:element name="SharedWithUsers" ma:index="14"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2EDB3E9-C3B9-4912-A257-ABC101DC5790}"/>
</file>

<file path=customXml/itemProps2.xml><?xml version="1.0" encoding="utf-8"?>
<ds:datastoreItem xmlns:ds="http://schemas.openxmlformats.org/officeDocument/2006/customXml" ds:itemID="{1F1B2343-AE1F-4DAC-A8F1-95C12525B62B}"/>
</file>

<file path=customXml/itemProps3.xml><?xml version="1.0" encoding="utf-8"?>
<ds:datastoreItem xmlns:ds="http://schemas.openxmlformats.org/officeDocument/2006/customXml" ds:itemID="{20A07726-E427-4BF6-BECE-A56B7C8AF90A}"/>
</file>

<file path=docProps/app.xml><?xml version="1.0" encoding="utf-8"?>
<Properties xmlns="http://schemas.openxmlformats.org/officeDocument/2006/extended-properties" xmlns:vt="http://schemas.openxmlformats.org/officeDocument/2006/docPropsVTypes">
  <TotalTime>8229</TotalTime>
  <Words>751</Words>
  <Application>Microsoft Office PowerPoint</Application>
  <PresentationFormat>Widescreen</PresentationFormat>
  <Paragraphs>90</Paragraphs>
  <Slides>7</Slides>
  <Notes>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Calibri Light</vt:lpstr>
      <vt:lpstr>Office Theme</vt:lpstr>
      <vt:lpstr>1_Office Theme</vt:lpstr>
      <vt:lpstr>think-cell Slide</vt:lpstr>
      <vt:lpstr>Öjersjömodellen  Vision  Öjersjö IF ska vara den självklara föreningen för alla i Öjersjö med omnejd som vill spela fotboll.     Verksamhetsidé  Öjersjö IF erbjuder fotboll för alla i Öjersjö med omnejd där alla kan växa och utvecklas, både på och utanför planen, oavsett ambitionsnivå. Vi vänder oss till killar och tjejer från fem års ålder och uppåt. Vi vill få barn och ungdomar att finna glädje, gemenskap och god hälsa genom idrott. Vi vill bidra till att våra medlemmar blir goda samhällsmedborgare samt skapa en trygg närmiljö genom att erbjuda en samlingsplats i Öjersjö.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llstedt, Helena</dc:creator>
  <cp:lastModifiedBy>Sellstedt, Helena</cp:lastModifiedBy>
  <cp:revision>27</cp:revision>
  <dcterms:created xsi:type="dcterms:W3CDTF">2021-10-31T06:58:49Z</dcterms:created>
  <dcterms:modified xsi:type="dcterms:W3CDTF">2021-11-19T13:2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ea2623-af8f-4fb8-b1cf-b63cc8e496aa_Enabled">
    <vt:lpwstr>true</vt:lpwstr>
  </property>
  <property fmtid="{D5CDD505-2E9C-101B-9397-08002B2CF9AE}" pid="3" name="MSIP_Label_7fea2623-af8f-4fb8-b1cf-b63cc8e496aa_SetDate">
    <vt:lpwstr>2021-10-31T06:58:49Z</vt:lpwstr>
  </property>
  <property fmtid="{D5CDD505-2E9C-101B-9397-08002B2CF9AE}" pid="4" name="MSIP_Label_7fea2623-af8f-4fb8-b1cf-b63cc8e496aa_Method">
    <vt:lpwstr>Standard</vt:lpwstr>
  </property>
  <property fmtid="{D5CDD505-2E9C-101B-9397-08002B2CF9AE}" pid="5" name="MSIP_Label_7fea2623-af8f-4fb8-b1cf-b63cc8e496aa_Name">
    <vt:lpwstr>Internal</vt:lpwstr>
  </property>
  <property fmtid="{D5CDD505-2E9C-101B-9397-08002B2CF9AE}" pid="6" name="MSIP_Label_7fea2623-af8f-4fb8-b1cf-b63cc8e496aa_SiteId">
    <vt:lpwstr>81fa766e-a349-4867-8bf4-ab35e250a08f</vt:lpwstr>
  </property>
  <property fmtid="{D5CDD505-2E9C-101B-9397-08002B2CF9AE}" pid="7" name="MSIP_Label_7fea2623-af8f-4fb8-b1cf-b63cc8e496aa_ActionId">
    <vt:lpwstr>86487316-1ed0-4261-8a18-f9f92193e93e</vt:lpwstr>
  </property>
  <property fmtid="{D5CDD505-2E9C-101B-9397-08002B2CF9AE}" pid="8" name="MSIP_Label_7fea2623-af8f-4fb8-b1cf-b63cc8e496aa_ContentBits">
    <vt:lpwstr>0</vt:lpwstr>
  </property>
  <property fmtid="{D5CDD505-2E9C-101B-9397-08002B2CF9AE}" pid="9" name="ContentTypeId">
    <vt:lpwstr>0x010100F5BB140B871DDC49A50EC965D7612DDB</vt:lpwstr>
  </property>
</Properties>
</file>